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</p:sldMasterIdLst>
  <p:notesMasterIdLst>
    <p:notesMasterId r:id="rId12"/>
  </p:notesMasterIdLst>
  <p:sldIdLst>
    <p:sldId id="335" r:id="rId2"/>
    <p:sldId id="261" r:id="rId3"/>
    <p:sldId id="352" r:id="rId4"/>
    <p:sldId id="351" r:id="rId5"/>
    <p:sldId id="353" r:id="rId6"/>
    <p:sldId id="354" r:id="rId7"/>
    <p:sldId id="355" r:id="rId8"/>
    <p:sldId id="356" r:id="rId9"/>
    <p:sldId id="357" r:id="rId10"/>
    <p:sldId id="323" r:id="rId11"/>
  </p:sldIdLst>
  <p:sldSz cx="9144000" cy="5143500" type="screen16x9"/>
  <p:notesSz cx="6858000" cy="9144000"/>
  <p:custDataLst>
    <p:tags r:id="rId1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eção Padrão" id="{D31DEC26-5814-431F-926B-5B9B88BE16A1}">
          <p14:sldIdLst>
            <p14:sldId id="335"/>
            <p14:sldId id="261"/>
            <p14:sldId id="352"/>
            <p14:sldId id="351"/>
            <p14:sldId id="353"/>
            <p14:sldId id="354"/>
            <p14:sldId id="355"/>
            <p14:sldId id="356"/>
            <p14:sldId id="357"/>
            <p14:sldId id="32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BF6E"/>
    <a:srgbClr val="448D62"/>
    <a:srgbClr val="144057"/>
    <a:srgbClr val="265750"/>
    <a:srgbClr val="1E4418"/>
    <a:srgbClr val="B2E786"/>
    <a:srgbClr val="28657B"/>
    <a:srgbClr val="265751"/>
    <a:srgbClr val="28647B"/>
    <a:srgbClr val="553A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A7A7C70-CC58-4451-9814-69798780C260}">
  <a:tblStyle styleId="{9A7A7C70-CC58-4451-9814-69798780C260}" styleName="Table_0">
    <a:wholeTbl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  <a:tblStyle styleId="{69C7853C-536D-4A76-A0AE-DD22124D55A5}" styleName="Estilo com Tema 1 - Ênfas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E171933-4619-4E11-9A3F-F7608DF75F80}" styleName="Estilo Médio 1 - Ênfas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799B23B-EC83-4686-B30A-512413B5E67A}" styleName="Estilo Claro 3 - Ênfas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Estilo Claro 2 - Ênfase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4705"/>
  </p:normalViewPr>
  <p:slideViewPr>
    <p:cSldViewPr snapToGrid="0">
      <p:cViewPr varScale="1">
        <p:scale>
          <a:sx n="74" d="100"/>
          <a:sy n="74" d="100"/>
        </p:scale>
        <p:origin x="98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299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8632732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ape 14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4" name="Shape 14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4470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ape 14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4" name="Shape 14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981489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ape 14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4" name="Shape 14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396672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ape 14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4" name="Shape 14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867041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ape 14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4" name="Shape 14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548086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ape 14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4" name="Shape 14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407694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ape 14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4" name="Shape 14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19765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ape 14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4" name="Shape 14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249477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Shape 12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" name="Shape 12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98365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ctrTitle"/>
          </p:nvPr>
        </p:nvSpPr>
        <p:spPr>
          <a:xfrm>
            <a:off x="4113600" y="2878750"/>
            <a:ext cx="4505699" cy="11597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Clr>
                <a:srgbClr val="114454"/>
              </a:buClr>
              <a:buSzPct val="100000"/>
              <a:defRPr sz="4800">
                <a:solidFill>
                  <a:srgbClr val="114454"/>
                </a:solidFill>
              </a:defRPr>
            </a:lvl1pPr>
            <a:lvl2pPr lvl="1" rtl="0">
              <a:spcBef>
                <a:spcPts val="0"/>
              </a:spcBef>
              <a:buClr>
                <a:srgbClr val="114454"/>
              </a:buClr>
              <a:buSzPct val="100000"/>
              <a:defRPr sz="4800">
                <a:solidFill>
                  <a:srgbClr val="114454"/>
                </a:solidFill>
              </a:defRPr>
            </a:lvl2pPr>
            <a:lvl3pPr lvl="2" rtl="0">
              <a:spcBef>
                <a:spcPts val="0"/>
              </a:spcBef>
              <a:buClr>
                <a:srgbClr val="114454"/>
              </a:buClr>
              <a:buSzPct val="100000"/>
              <a:defRPr sz="4800">
                <a:solidFill>
                  <a:srgbClr val="114454"/>
                </a:solidFill>
              </a:defRPr>
            </a:lvl3pPr>
            <a:lvl4pPr lvl="3" rtl="0">
              <a:spcBef>
                <a:spcPts val="0"/>
              </a:spcBef>
              <a:buClr>
                <a:srgbClr val="114454"/>
              </a:buClr>
              <a:buSzPct val="100000"/>
              <a:defRPr sz="4800">
                <a:solidFill>
                  <a:srgbClr val="114454"/>
                </a:solidFill>
              </a:defRPr>
            </a:lvl4pPr>
            <a:lvl5pPr lvl="4" rtl="0">
              <a:spcBef>
                <a:spcPts val="0"/>
              </a:spcBef>
              <a:buClr>
                <a:srgbClr val="114454"/>
              </a:buClr>
              <a:buSzPct val="100000"/>
              <a:defRPr sz="4800">
                <a:solidFill>
                  <a:srgbClr val="114454"/>
                </a:solidFill>
              </a:defRPr>
            </a:lvl5pPr>
            <a:lvl6pPr lvl="5" rtl="0">
              <a:spcBef>
                <a:spcPts val="0"/>
              </a:spcBef>
              <a:buClr>
                <a:srgbClr val="114454"/>
              </a:buClr>
              <a:buSzPct val="100000"/>
              <a:defRPr sz="4800">
                <a:solidFill>
                  <a:srgbClr val="114454"/>
                </a:solidFill>
              </a:defRPr>
            </a:lvl6pPr>
            <a:lvl7pPr lvl="6" rtl="0">
              <a:spcBef>
                <a:spcPts val="0"/>
              </a:spcBef>
              <a:buClr>
                <a:srgbClr val="114454"/>
              </a:buClr>
              <a:buSzPct val="100000"/>
              <a:defRPr sz="4800">
                <a:solidFill>
                  <a:srgbClr val="114454"/>
                </a:solidFill>
              </a:defRPr>
            </a:lvl7pPr>
            <a:lvl8pPr lvl="7" rtl="0">
              <a:spcBef>
                <a:spcPts val="0"/>
              </a:spcBef>
              <a:buClr>
                <a:srgbClr val="114454"/>
              </a:buClr>
              <a:buSzPct val="100000"/>
              <a:defRPr sz="4800">
                <a:solidFill>
                  <a:srgbClr val="114454"/>
                </a:solidFill>
              </a:defRPr>
            </a:lvl8pPr>
            <a:lvl9pPr lvl="8" rtl="0">
              <a:spcBef>
                <a:spcPts val="0"/>
              </a:spcBef>
              <a:buClr>
                <a:srgbClr val="114454"/>
              </a:buClr>
              <a:buSzPct val="100000"/>
              <a:defRPr sz="4800">
                <a:solidFill>
                  <a:srgbClr val="114454"/>
                </a:solidFill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subTitle" idx="1"/>
          </p:nvPr>
        </p:nvSpPr>
        <p:spPr>
          <a:xfrm>
            <a:off x="4113600" y="3983050"/>
            <a:ext cx="4505699" cy="784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Clr>
                <a:srgbClr val="94BF6E"/>
              </a:buClr>
              <a:buSzPct val="100000"/>
              <a:buNone/>
              <a:defRPr sz="1800" b="1">
                <a:solidFill>
                  <a:srgbClr val="94BF6E"/>
                </a:solidFill>
              </a:defRPr>
            </a:lvl1pPr>
            <a:lvl2pPr lvl="1" rtl="0">
              <a:spcBef>
                <a:spcPts val="0"/>
              </a:spcBef>
              <a:buClr>
                <a:srgbClr val="94BF6E"/>
              </a:buClr>
              <a:buSzPct val="100000"/>
              <a:buNone/>
              <a:defRPr sz="1800" b="1">
                <a:solidFill>
                  <a:srgbClr val="94BF6E"/>
                </a:solidFill>
              </a:defRPr>
            </a:lvl2pPr>
            <a:lvl3pPr lvl="2" rtl="0">
              <a:spcBef>
                <a:spcPts val="0"/>
              </a:spcBef>
              <a:buClr>
                <a:srgbClr val="94BF6E"/>
              </a:buClr>
              <a:buSzPct val="100000"/>
              <a:buNone/>
              <a:defRPr sz="1800" b="1">
                <a:solidFill>
                  <a:srgbClr val="94BF6E"/>
                </a:solidFill>
              </a:defRPr>
            </a:lvl3pPr>
            <a:lvl4pPr lvl="3" rtl="0">
              <a:spcBef>
                <a:spcPts val="0"/>
              </a:spcBef>
              <a:buClr>
                <a:srgbClr val="94BF6E"/>
              </a:buClr>
              <a:buNone/>
              <a:defRPr b="1">
                <a:solidFill>
                  <a:srgbClr val="94BF6E"/>
                </a:solidFill>
              </a:defRPr>
            </a:lvl4pPr>
            <a:lvl5pPr lvl="4" rtl="0">
              <a:spcBef>
                <a:spcPts val="0"/>
              </a:spcBef>
              <a:buClr>
                <a:srgbClr val="94BF6E"/>
              </a:buClr>
              <a:buNone/>
              <a:defRPr b="1">
                <a:solidFill>
                  <a:srgbClr val="94BF6E"/>
                </a:solidFill>
              </a:defRPr>
            </a:lvl5pPr>
            <a:lvl6pPr lvl="5" rtl="0">
              <a:spcBef>
                <a:spcPts val="0"/>
              </a:spcBef>
              <a:buClr>
                <a:srgbClr val="94BF6E"/>
              </a:buClr>
              <a:buNone/>
              <a:defRPr b="1">
                <a:solidFill>
                  <a:srgbClr val="94BF6E"/>
                </a:solidFill>
              </a:defRPr>
            </a:lvl6pPr>
            <a:lvl7pPr lvl="6" rtl="0">
              <a:spcBef>
                <a:spcPts val="0"/>
              </a:spcBef>
              <a:buClr>
                <a:srgbClr val="94BF6E"/>
              </a:buClr>
              <a:buNone/>
              <a:defRPr b="1">
                <a:solidFill>
                  <a:srgbClr val="94BF6E"/>
                </a:solidFill>
              </a:defRPr>
            </a:lvl7pPr>
            <a:lvl8pPr lvl="7" rtl="0">
              <a:spcBef>
                <a:spcPts val="0"/>
              </a:spcBef>
              <a:buClr>
                <a:srgbClr val="94BF6E"/>
              </a:buClr>
              <a:buNone/>
              <a:defRPr b="1">
                <a:solidFill>
                  <a:srgbClr val="94BF6E"/>
                </a:solidFill>
              </a:defRPr>
            </a:lvl8pPr>
            <a:lvl9pPr lvl="8" rtl="0">
              <a:spcBef>
                <a:spcPts val="0"/>
              </a:spcBef>
              <a:buClr>
                <a:srgbClr val="94BF6E"/>
              </a:buClr>
              <a:buNone/>
              <a:defRPr b="1">
                <a:solidFill>
                  <a:srgbClr val="94BF6E"/>
                </a:solidFill>
              </a:defRPr>
            </a:lvl9pPr>
          </a:lstStyle>
          <a:p>
            <a:endParaRPr/>
          </a:p>
        </p:txBody>
      </p:sp>
      <p:sp>
        <p:nvSpPr>
          <p:cNvPr id="18" name="Shape 18"/>
          <p:cNvSpPr/>
          <p:nvPr/>
        </p:nvSpPr>
        <p:spPr>
          <a:xfrm>
            <a:off x="0" y="4288499"/>
            <a:ext cx="3474300" cy="247500"/>
          </a:xfrm>
          <a:prstGeom prst="rect">
            <a:avLst/>
          </a:prstGeom>
          <a:solidFill>
            <a:srgbClr val="16575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9" name="Shape 19"/>
          <p:cNvSpPr/>
          <p:nvPr/>
        </p:nvSpPr>
        <p:spPr>
          <a:xfrm>
            <a:off x="0" y="0"/>
            <a:ext cx="3474300" cy="530699"/>
          </a:xfrm>
          <a:prstGeom prst="rect">
            <a:avLst/>
          </a:prstGeom>
          <a:solidFill>
            <a:srgbClr val="18637B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114454"/>
              </a:solidFill>
            </a:endParaRPr>
          </a:p>
        </p:txBody>
      </p:sp>
      <p:sp>
        <p:nvSpPr>
          <p:cNvPr id="20" name="Shape 20"/>
          <p:cNvSpPr/>
          <p:nvPr/>
        </p:nvSpPr>
        <p:spPr>
          <a:xfrm>
            <a:off x="0" y="500625"/>
            <a:ext cx="3474300" cy="3824100"/>
          </a:xfrm>
          <a:prstGeom prst="rect">
            <a:avLst/>
          </a:prstGeom>
          <a:solidFill>
            <a:srgbClr val="124057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1" name="Shape 21"/>
          <p:cNvSpPr/>
          <p:nvPr/>
        </p:nvSpPr>
        <p:spPr>
          <a:xfrm>
            <a:off x="0" y="4493604"/>
            <a:ext cx="3474300" cy="118200"/>
          </a:xfrm>
          <a:prstGeom prst="rect">
            <a:avLst/>
          </a:prstGeom>
          <a:solidFill>
            <a:srgbClr val="3B8D6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2" name="Shape 22"/>
          <p:cNvSpPr/>
          <p:nvPr/>
        </p:nvSpPr>
        <p:spPr>
          <a:xfrm>
            <a:off x="0" y="4584075"/>
            <a:ext cx="3474300" cy="559499"/>
          </a:xfrm>
          <a:prstGeom prst="rect">
            <a:avLst/>
          </a:prstGeom>
          <a:solidFill>
            <a:srgbClr val="94BF6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2E0FE7B-CEE4-9F4B-9EDF-4904C54F3D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623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7">
            <a:extLst>
              <a:ext uri="{FF2B5EF4-FFF2-40B4-BE49-F238E27FC236}">
                <a16:creationId xmlns:a16="http://schemas.microsoft.com/office/drawing/2014/main" id="{7D942422-E793-D544-80CD-6E88A5750B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507" t="1572" r="1" b="3611"/>
          <a:stretch/>
        </p:blipFill>
        <p:spPr>
          <a:xfrm>
            <a:off x="247200" y="176223"/>
            <a:ext cx="8538991" cy="536786"/>
          </a:xfrm>
          <a:prstGeom prst="rect">
            <a:avLst/>
          </a:prstGeom>
        </p:spPr>
      </p:pic>
      <p:sp>
        <p:nvSpPr>
          <p:cNvPr id="77" name="Shape 77"/>
          <p:cNvSpPr/>
          <p:nvPr/>
        </p:nvSpPr>
        <p:spPr>
          <a:xfrm>
            <a:off x="0" y="0"/>
            <a:ext cx="247200" cy="530699"/>
          </a:xfrm>
          <a:prstGeom prst="rect">
            <a:avLst/>
          </a:prstGeom>
          <a:solidFill>
            <a:srgbClr val="18637B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114454"/>
              </a:solidFill>
            </a:endParaRPr>
          </a:p>
        </p:txBody>
      </p:sp>
      <p:sp>
        <p:nvSpPr>
          <p:cNvPr id="78" name="Shape 78"/>
          <p:cNvSpPr/>
          <p:nvPr/>
        </p:nvSpPr>
        <p:spPr>
          <a:xfrm>
            <a:off x="0" y="500625"/>
            <a:ext cx="247200" cy="1058699"/>
          </a:xfrm>
          <a:prstGeom prst="rect">
            <a:avLst/>
          </a:prstGeom>
          <a:solidFill>
            <a:srgbClr val="124057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9" name="Shape 79"/>
          <p:cNvSpPr/>
          <p:nvPr/>
        </p:nvSpPr>
        <p:spPr>
          <a:xfrm>
            <a:off x="0" y="1553405"/>
            <a:ext cx="247200" cy="1532700"/>
          </a:xfrm>
          <a:prstGeom prst="rect">
            <a:avLst/>
          </a:prstGeom>
          <a:solidFill>
            <a:srgbClr val="16575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0" name="Shape 80"/>
          <p:cNvSpPr/>
          <p:nvPr/>
        </p:nvSpPr>
        <p:spPr>
          <a:xfrm>
            <a:off x="0" y="3086100"/>
            <a:ext cx="247200" cy="605400"/>
          </a:xfrm>
          <a:prstGeom prst="rect">
            <a:avLst/>
          </a:prstGeom>
          <a:solidFill>
            <a:srgbClr val="3B8D6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1" name="Shape 81"/>
          <p:cNvSpPr/>
          <p:nvPr/>
        </p:nvSpPr>
        <p:spPr>
          <a:xfrm>
            <a:off x="0" y="3691500"/>
            <a:ext cx="247200" cy="1451999"/>
          </a:xfrm>
          <a:prstGeom prst="rect">
            <a:avLst/>
          </a:prstGeom>
          <a:solidFill>
            <a:srgbClr val="94BF6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1" name="Shape 38"/>
          <p:cNvSpPr txBox="1">
            <a:spLocks noGrp="1"/>
          </p:cNvSpPr>
          <p:nvPr>
            <p:ph type="title"/>
          </p:nvPr>
        </p:nvSpPr>
        <p:spPr>
          <a:xfrm>
            <a:off x="1146025" y="176647"/>
            <a:ext cx="6687984" cy="536787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15" name="Espaço Reservado para Número de Slide 7"/>
          <p:cNvSpPr txBox="1">
            <a:spLocks/>
          </p:cNvSpPr>
          <p:nvPr userDrawn="1"/>
        </p:nvSpPr>
        <p:spPr>
          <a:xfrm>
            <a:off x="8443858" y="4445491"/>
            <a:ext cx="720924" cy="539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ctr" defTabSz="1267913" rtl="0" eaLnBrk="1" latinLnBrk="0" hangingPunct="1"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33956" algn="l" defTabSz="1267913" rtl="0" eaLnBrk="1" latinLnBrk="0" hangingPunct="1">
              <a:defRPr sz="2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7913" algn="l" defTabSz="1267913" rtl="0" eaLnBrk="1" latinLnBrk="0" hangingPunct="1">
              <a:defRPr sz="2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01869" algn="l" defTabSz="1267913" rtl="0" eaLnBrk="1" latinLnBrk="0" hangingPunct="1">
              <a:defRPr sz="2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35825" algn="l" defTabSz="1267913" rtl="0" eaLnBrk="1" latinLnBrk="0" hangingPunct="1">
              <a:defRPr sz="2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9781" algn="l" defTabSz="1267913" rtl="0" eaLnBrk="1" latinLnBrk="0" hangingPunct="1">
              <a:defRPr sz="2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3738" algn="l" defTabSz="1267913" rtl="0" eaLnBrk="1" latinLnBrk="0" hangingPunct="1">
              <a:defRPr sz="2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37694" algn="l" defTabSz="1267913" rtl="0" eaLnBrk="1" latinLnBrk="0" hangingPunct="1">
              <a:defRPr sz="2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71650" algn="l" defTabSz="1267913" rtl="0" eaLnBrk="1" latinLnBrk="0" hangingPunct="1">
              <a:defRPr sz="2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679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DE3DC-EB53-43C5-9B8C-BD1ABB24CE66}" type="slidenum">
              <a:rPr kumimoji="0" lang="pt-BR" sz="1400" b="0" i="0" u="none" strike="noStrike" kern="1200" cap="none" spc="0" normalizeH="0" baseline="0" noProof="0" smtClean="0">
                <a:ln>
                  <a:noFill/>
                </a:ln>
                <a:solidFill>
                  <a:srgbClr val="005C2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679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5C2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 rotWithShape="1">
          <a:blip r:embed="rId5"/>
          <a:srcRect l="4507" t="1572" r="3545" b="3611"/>
          <a:stretch/>
        </p:blipFill>
        <p:spPr>
          <a:xfrm>
            <a:off x="-1" y="176648"/>
            <a:ext cx="7886701" cy="536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86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tyle A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/>
          <p:nvPr/>
        </p:nvSpPr>
        <p:spPr>
          <a:xfrm>
            <a:off x="0" y="1148250"/>
            <a:ext cx="9144000" cy="2847000"/>
          </a:xfrm>
          <a:prstGeom prst="rect">
            <a:avLst/>
          </a:prstGeom>
          <a:solidFill>
            <a:srgbClr val="16575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4" name="Shape 84"/>
          <p:cNvSpPr/>
          <p:nvPr/>
        </p:nvSpPr>
        <p:spPr>
          <a:xfrm>
            <a:off x="0" y="0"/>
            <a:ext cx="9144000" cy="530699"/>
          </a:xfrm>
          <a:prstGeom prst="rect">
            <a:avLst/>
          </a:prstGeom>
          <a:solidFill>
            <a:srgbClr val="18637B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>
              <a:solidFill>
                <a:srgbClr val="114454"/>
              </a:solidFill>
            </a:endParaRPr>
          </a:p>
        </p:txBody>
      </p:sp>
      <p:sp>
        <p:nvSpPr>
          <p:cNvPr id="85" name="Shape 85"/>
          <p:cNvSpPr/>
          <p:nvPr/>
        </p:nvSpPr>
        <p:spPr>
          <a:xfrm>
            <a:off x="0" y="500624"/>
            <a:ext cx="9144000" cy="732000"/>
          </a:xfrm>
          <a:prstGeom prst="rect">
            <a:avLst/>
          </a:prstGeom>
          <a:solidFill>
            <a:srgbClr val="124057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6" name="Shape 86"/>
          <p:cNvSpPr/>
          <p:nvPr/>
        </p:nvSpPr>
        <p:spPr>
          <a:xfrm>
            <a:off x="0" y="3962800"/>
            <a:ext cx="9144000" cy="370200"/>
          </a:xfrm>
          <a:prstGeom prst="rect">
            <a:avLst/>
          </a:prstGeom>
          <a:solidFill>
            <a:srgbClr val="3B8D6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7" name="Shape 87"/>
          <p:cNvSpPr/>
          <p:nvPr/>
        </p:nvSpPr>
        <p:spPr>
          <a:xfrm>
            <a:off x="0" y="4333125"/>
            <a:ext cx="9144000" cy="810299"/>
          </a:xfrm>
          <a:prstGeom prst="rect">
            <a:avLst/>
          </a:prstGeom>
          <a:solidFill>
            <a:srgbClr val="94BF6E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2B05D21-2102-A572-3027-C52AC17B8B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8471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1146025" y="530725"/>
            <a:ext cx="3208799" cy="102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1146025" y="1767275"/>
            <a:ext cx="7540800" cy="3158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600"/>
              </a:spcBef>
              <a:buClr>
                <a:srgbClr val="114454"/>
              </a:buClr>
              <a:buSzPct val="100000"/>
              <a:buFont typeface="Nixie One"/>
              <a:buChar char="▪"/>
              <a:defRPr sz="3000">
                <a:solidFill>
                  <a:srgbClr val="114454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480"/>
              </a:spcBef>
              <a:buClr>
                <a:srgbClr val="114454"/>
              </a:buClr>
              <a:buSzPct val="100000"/>
              <a:buFont typeface="Nixie One"/>
              <a:buChar char="▫"/>
              <a:defRPr sz="2400">
                <a:solidFill>
                  <a:srgbClr val="114454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480"/>
              </a:spcBef>
              <a:buClr>
                <a:srgbClr val="114454"/>
              </a:buClr>
              <a:buSzPct val="100000"/>
              <a:buFont typeface="Nixie One"/>
              <a:defRPr sz="2400">
                <a:solidFill>
                  <a:srgbClr val="114454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360"/>
              </a:spcBef>
              <a:buClr>
                <a:srgbClr val="114454"/>
              </a:buClr>
              <a:buSzPct val="100000"/>
              <a:buFont typeface="Nixie One"/>
              <a:defRPr sz="1800">
                <a:solidFill>
                  <a:srgbClr val="114454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360"/>
              </a:spcBef>
              <a:buClr>
                <a:srgbClr val="114454"/>
              </a:buClr>
              <a:buSzPct val="100000"/>
              <a:buFont typeface="Nixie One"/>
              <a:defRPr sz="1800">
                <a:solidFill>
                  <a:srgbClr val="114454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360"/>
              </a:spcBef>
              <a:buClr>
                <a:srgbClr val="114454"/>
              </a:buClr>
              <a:buSzPct val="100000"/>
              <a:buFont typeface="Nixie One"/>
              <a:defRPr sz="1800">
                <a:solidFill>
                  <a:srgbClr val="114454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360"/>
              </a:spcBef>
              <a:buClr>
                <a:srgbClr val="114454"/>
              </a:buClr>
              <a:buSzPct val="100000"/>
              <a:buFont typeface="Nixie One"/>
              <a:defRPr sz="1800">
                <a:solidFill>
                  <a:srgbClr val="114454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360"/>
              </a:spcBef>
              <a:buClr>
                <a:srgbClr val="114454"/>
              </a:buClr>
              <a:buSzPct val="100000"/>
              <a:buFont typeface="Nixie One"/>
              <a:defRPr sz="1800">
                <a:solidFill>
                  <a:srgbClr val="114454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360"/>
              </a:spcBef>
              <a:buClr>
                <a:srgbClr val="114454"/>
              </a:buClr>
              <a:buSzPct val="100000"/>
              <a:buFont typeface="Nixie One"/>
              <a:defRPr sz="1800">
                <a:solidFill>
                  <a:srgbClr val="114454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7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microsoft.com/office/2007/relationships/hdphoto" Target="../media/hdphoto3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11" Type="http://schemas.microsoft.com/office/2007/relationships/hdphoto" Target="../media/hdphoto2.wdp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png"/><Relationship Id="rId1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21D1B5EE-26E2-C57B-0BC9-424A2D7F3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035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037390" y="1130658"/>
            <a:ext cx="5030400" cy="2379525"/>
          </a:xfrm>
        </p:spPr>
        <p:txBody>
          <a:bodyPr vert="horz"/>
          <a:lstStyle/>
          <a:p>
            <a:br>
              <a:rPr lang="pt-BR" sz="4400" dirty="0"/>
            </a:br>
            <a:r>
              <a:rPr lang="pt-BR" sz="4400" dirty="0"/>
              <a:t>Social Return </a:t>
            </a:r>
            <a:br>
              <a:rPr lang="pt-BR" sz="4400" dirty="0"/>
            </a:br>
            <a:r>
              <a:rPr lang="pt-BR" sz="4400" dirty="0"/>
              <a:t>on Investment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037391" y="3414685"/>
            <a:ext cx="4175866" cy="784799"/>
          </a:xfrm>
        </p:spPr>
        <p:txBody>
          <a:bodyPr/>
          <a:lstStyle/>
          <a:p>
            <a:r>
              <a:rPr lang="pt-BR" sz="2000" i="1" dirty="0"/>
              <a:t>O retorno social sobre investimento, uma nova abordagem na análise financeira de projetos de investimento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119848" y="4733104"/>
            <a:ext cx="31249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i="1" dirty="0">
                <a:solidFill>
                  <a:srgbClr val="144057"/>
                </a:solidFill>
              </a:rPr>
              <a:t>São Paulo, SP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0" y="127679"/>
            <a:ext cx="34767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i="1" dirty="0">
                <a:solidFill>
                  <a:srgbClr val="94BF6E"/>
                </a:solidFill>
              </a:rPr>
              <a:t>24 de novembro de 2022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0088F7C2-84EA-A8A1-80E4-D08747978E3E}"/>
              </a:ext>
            </a:extLst>
          </p:cNvPr>
          <p:cNvSpPr txBox="1">
            <a:spLocks/>
          </p:cNvSpPr>
          <p:nvPr/>
        </p:nvSpPr>
        <p:spPr>
          <a:xfrm>
            <a:off x="128703" y="543465"/>
            <a:ext cx="3192467" cy="360867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14454"/>
              </a:buClr>
              <a:buSzPct val="100000"/>
              <a:buFont typeface="Roboto Slab"/>
              <a:buNone/>
              <a:defRPr sz="4800" b="1" i="0" u="none" strike="noStrike" cap="none">
                <a:solidFill>
                  <a:srgbClr val="114454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lvl="1" rtl="0">
              <a:spcBef>
                <a:spcPts val="0"/>
              </a:spcBef>
              <a:buClr>
                <a:srgbClr val="114454"/>
              </a:buClr>
              <a:buSzPct val="100000"/>
              <a:buFont typeface="Roboto Slab"/>
              <a:buNone/>
              <a:defRPr sz="4800" b="1">
                <a:solidFill>
                  <a:srgbClr val="114454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lvl="2" rtl="0">
              <a:spcBef>
                <a:spcPts val="0"/>
              </a:spcBef>
              <a:buClr>
                <a:srgbClr val="114454"/>
              </a:buClr>
              <a:buSzPct val="100000"/>
              <a:buFont typeface="Roboto Slab"/>
              <a:buNone/>
              <a:defRPr sz="4800" b="1">
                <a:solidFill>
                  <a:srgbClr val="114454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lvl="3" rtl="0">
              <a:spcBef>
                <a:spcPts val="0"/>
              </a:spcBef>
              <a:buClr>
                <a:srgbClr val="114454"/>
              </a:buClr>
              <a:buSzPct val="100000"/>
              <a:buFont typeface="Roboto Slab"/>
              <a:buNone/>
              <a:defRPr sz="4800" b="1">
                <a:solidFill>
                  <a:srgbClr val="114454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lvl="4" rtl="0">
              <a:spcBef>
                <a:spcPts val="0"/>
              </a:spcBef>
              <a:buClr>
                <a:srgbClr val="114454"/>
              </a:buClr>
              <a:buSzPct val="100000"/>
              <a:buFont typeface="Roboto Slab"/>
              <a:buNone/>
              <a:defRPr sz="4800" b="1">
                <a:solidFill>
                  <a:srgbClr val="114454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lvl="5" rtl="0">
              <a:spcBef>
                <a:spcPts val="0"/>
              </a:spcBef>
              <a:buClr>
                <a:srgbClr val="114454"/>
              </a:buClr>
              <a:buSzPct val="100000"/>
              <a:buFont typeface="Roboto Slab"/>
              <a:buNone/>
              <a:defRPr sz="4800" b="1">
                <a:solidFill>
                  <a:srgbClr val="114454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lvl="6" rtl="0">
              <a:spcBef>
                <a:spcPts val="0"/>
              </a:spcBef>
              <a:buClr>
                <a:srgbClr val="114454"/>
              </a:buClr>
              <a:buSzPct val="100000"/>
              <a:buFont typeface="Roboto Slab"/>
              <a:buNone/>
              <a:defRPr sz="4800" b="1">
                <a:solidFill>
                  <a:srgbClr val="114454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lvl="7" rtl="0">
              <a:spcBef>
                <a:spcPts val="0"/>
              </a:spcBef>
              <a:buClr>
                <a:srgbClr val="114454"/>
              </a:buClr>
              <a:buSzPct val="100000"/>
              <a:buFont typeface="Roboto Slab"/>
              <a:buNone/>
              <a:defRPr sz="4800" b="1">
                <a:solidFill>
                  <a:srgbClr val="114454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lvl="8" rtl="0">
              <a:spcBef>
                <a:spcPts val="0"/>
              </a:spcBef>
              <a:buClr>
                <a:srgbClr val="114454"/>
              </a:buClr>
              <a:buSzPct val="100000"/>
              <a:buFont typeface="Roboto Slab"/>
              <a:buNone/>
              <a:defRPr sz="4800" b="1">
                <a:solidFill>
                  <a:srgbClr val="114454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pPr algn="ctr"/>
            <a:r>
              <a:rPr lang="pt-BR" sz="6000" dirty="0">
                <a:solidFill>
                  <a:srgbClr val="94BF6E"/>
                </a:solidFill>
              </a:rPr>
              <a:t>S.R.O.I</a:t>
            </a:r>
          </a:p>
        </p:txBody>
      </p:sp>
    </p:spTree>
    <p:extLst>
      <p:ext uri="{BB962C8B-B14F-4D97-AF65-F5344CB8AC3E}">
        <p14:creationId xmlns:p14="http://schemas.microsoft.com/office/powerpoint/2010/main" val="922734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Shape 128"/>
          <p:cNvSpPr txBox="1">
            <a:spLocks noGrp="1"/>
          </p:cNvSpPr>
          <p:nvPr>
            <p:ph type="subTitle" idx="4294967295"/>
          </p:nvPr>
        </p:nvSpPr>
        <p:spPr>
          <a:xfrm>
            <a:off x="1086337" y="1723117"/>
            <a:ext cx="4166755" cy="1510368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pt-BR" sz="2400" b="1" i="1" dirty="0">
                <a:solidFill>
                  <a:srgbClr val="FFFFFF"/>
                </a:solidFill>
              </a:rPr>
              <a:t>Obrigado!</a:t>
            </a:r>
            <a:endParaRPr lang="en" sz="2400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74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78E07D-8BEB-6B9E-E9C5-067820BD5B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418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Shape 146"/>
          <p:cNvSpPr txBox="1">
            <a:spLocks noGrp="1"/>
          </p:cNvSpPr>
          <p:nvPr>
            <p:ph type="title"/>
          </p:nvPr>
        </p:nvSpPr>
        <p:spPr>
          <a:xfrm>
            <a:off x="1707134" y="154587"/>
            <a:ext cx="6687984" cy="606033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pt-BR" dirty="0"/>
              <a:t>O Case da Kaeté Investimentos</a:t>
            </a:r>
            <a:endParaRPr lang="en" dirty="0"/>
          </a:p>
        </p:txBody>
      </p:sp>
      <p:sp>
        <p:nvSpPr>
          <p:cNvPr id="35" name="Retângulo 34"/>
          <p:cNvSpPr/>
          <p:nvPr/>
        </p:nvSpPr>
        <p:spPr>
          <a:xfrm>
            <a:off x="384804" y="782256"/>
            <a:ext cx="7235899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Kaeté Investimentos – um fundo de investimento de impacto</a:t>
            </a:r>
            <a:endParaRPr lang="pt-BR" i="1" kern="0" dirty="0">
              <a:solidFill>
                <a:srgbClr val="448D62"/>
              </a:solidFill>
              <a:latin typeface="+mj-lt"/>
            </a:endParaRPr>
          </a:p>
        </p:txBody>
      </p:sp>
      <p:sp>
        <p:nvSpPr>
          <p:cNvPr id="55" name="Retângulo Arredondado 54"/>
          <p:cNvSpPr/>
          <p:nvPr/>
        </p:nvSpPr>
        <p:spPr>
          <a:xfrm>
            <a:off x="2845999" y="1439016"/>
            <a:ext cx="3240169" cy="969889"/>
          </a:xfrm>
          <a:prstGeom prst="roundRect">
            <a:avLst/>
          </a:prstGeom>
          <a:solidFill>
            <a:srgbClr val="94BF6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6" indent="-171450">
              <a:spcBef>
                <a:spcPts val="600"/>
              </a:spcBef>
              <a:buFont typeface="Wingdings" charset="2"/>
              <a:buChar char="ü"/>
            </a:pPr>
            <a:endParaRPr lang="pt-BR" sz="1100" dirty="0">
              <a:solidFill>
                <a:srgbClr val="144057"/>
              </a:solidFill>
            </a:endParaRPr>
          </a:p>
          <a:p>
            <a:pPr marL="171450" lvl="6" indent="-171450">
              <a:spcBef>
                <a:spcPts val="600"/>
              </a:spcBef>
              <a:buFont typeface="Wingdings" charset="2"/>
              <a:buChar char="ü"/>
            </a:pPr>
            <a:r>
              <a:rPr lang="pt-BR" sz="1100" dirty="0">
                <a:solidFill>
                  <a:srgbClr val="144057"/>
                </a:solidFill>
              </a:rPr>
              <a:t>Sustentabilidade financeira;</a:t>
            </a:r>
          </a:p>
          <a:p>
            <a:pPr marL="171450" lvl="6" indent="-171450">
              <a:spcBef>
                <a:spcPts val="600"/>
              </a:spcBef>
              <a:buFont typeface="Wingdings" charset="2"/>
              <a:buChar char="ü"/>
            </a:pPr>
            <a:r>
              <a:rPr lang="pt-BR" sz="1100" dirty="0">
                <a:solidFill>
                  <a:srgbClr val="144057"/>
                </a:solidFill>
              </a:rPr>
              <a:t>Resolução problema social ou ambiental; por meio da geração de impacto.</a:t>
            </a:r>
          </a:p>
        </p:txBody>
      </p:sp>
      <p:sp>
        <p:nvSpPr>
          <p:cNvPr id="56" name="Retângulo Arredondado 55"/>
          <p:cNvSpPr/>
          <p:nvPr/>
        </p:nvSpPr>
        <p:spPr>
          <a:xfrm>
            <a:off x="2830117" y="1259585"/>
            <a:ext cx="3256051" cy="437339"/>
          </a:xfrm>
          <a:prstGeom prst="roundRect">
            <a:avLst/>
          </a:prstGeom>
          <a:solidFill>
            <a:srgbClr val="2657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/>
              <a:t>Negócios Sociais</a:t>
            </a:r>
          </a:p>
        </p:txBody>
      </p:sp>
      <p:sp>
        <p:nvSpPr>
          <p:cNvPr id="58" name="CaixaDeTexto 57"/>
          <p:cNvSpPr txBox="1"/>
          <p:nvPr/>
        </p:nvSpPr>
        <p:spPr>
          <a:xfrm>
            <a:off x="2228575" y="1210078"/>
            <a:ext cx="2872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b="1" i="1">
                <a:solidFill>
                  <a:srgbClr val="005C2F"/>
                </a:solidFill>
              </a:rPr>
              <a:t>K</a:t>
            </a:r>
            <a:endParaRPr lang="pt-BR" sz="1100" b="1" i="1" dirty="0">
              <a:solidFill>
                <a:srgbClr val="005C2F"/>
              </a:solidFill>
            </a:endParaRPr>
          </a:p>
        </p:txBody>
      </p:sp>
      <p:cxnSp>
        <p:nvCxnSpPr>
          <p:cNvPr id="9" name="Conector de Seta Reta 8"/>
          <p:cNvCxnSpPr/>
          <p:nvPr/>
        </p:nvCxnSpPr>
        <p:spPr>
          <a:xfrm flipV="1">
            <a:off x="2018911" y="1455873"/>
            <a:ext cx="663189" cy="1"/>
          </a:xfrm>
          <a:prstGeom prst="straightConnector1">
            <a:avLst/>
          </a:prstGeom>
          <a:ln>
            <a:solidFill>
              <a:srgbClr val="14405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de Seta Reta 11"/>
          <p:cNvCxnSpPr/>
          <p:nvPr/>
        </p:nvCxnSpPr>
        <p:spPr>
          <a:xfrm flipH="1">
            <a:off x="2018911" y="1717128"/>
            <a:ext cx="663189" cy="0"/>
          </a:xfrm>
          <a:prstGeom prst="straightConnector1">
            <a:avLst/>
          </a:prstGeom>
          <a:ln>
            <a:solidFill>
              <a:srgbClr val="14405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aixaDeTexto 58"/>
          <p:cNvSpPr txBox="1"/>
          <p:nvPr/>
        </p:nvSpPr>
        <p:spPr>
          <a:xfrm>
            <a:off x="2220201" y="1493109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b="1" i="1">
                <a:solidFill>
                  <a:srgbClr val="005C2F"/>
                </a:solidFill>
              </a:rPr>
              <a:t>$</a:t>
            </a:r>
            <a:endParaRPr lang="pt-BR" sz="1100" b="1" i="1" dirty="0">
              <a:solidFill>
                <a:srgbClr val="005C2F"/>
              </a:solidFill>
            </a:endParaRPr>
          </a:p>
        </p:txBody>
      </p:sp>
      <p:sp>
        <p:nvSpPr>
          <p:cNvPr id="23" name="Retângulo Arredondado 22"/>
          <p:cNvSpPr/>
          <p:nvPr/>
        </p:nvSpPr>
        <p:spPr>
          <a:xfrm>
            <a:off x="7021411" y="1239573"/>
            <a:ext cx="1326382" cy="619153"/>
          </a:xfrm>
          <a:prstGeom prst="roundRect">
            <a:avLst/>
          </a:prstGeom>
          <a:solidFill>
            <a:srgbClr val="2657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dirty="0"/>
              <a:t>Sociedade</a:t>
            </a:r>
          </a:p>
          <a:p>
            <a:pPr algn="ctr"/>
            <a:r>
              <a:rPr lang="pt-BR" sz="1100" dirty="0"/>
              <a:t>ou</a:t>
            </a:r>
          </a:p>
          <a:p>
            <a:pPr algn="ctr"/>
            <a:r>
              <a:rPr lang="pt-BR" sz="1100" dirty="0"/>
              <a:t>Meio Ambiente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6176121" y="1214650"/>
            <a:ext cx="811441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100" b="1" i="1" dirty="0">
                <a:solidFill>
                  <a:srgbClr val="005C2F"/>
                </a:solidFill>
              </a:rPr>
              <a:t>Impactos</a:t>
            </a:r>
          </a:p>
          <a:p>
            <a:pPr>
              <a:lnSpc>
                <a:spcPct val="150000"/>
              </a:lnSpc>
            </a:pPr>
            <a:r>
              <a:rPr lang="pt-BR" sz="1100" b="1" i="1" dirty="0">
                <a:solidFill>
                  <a:srgbClr val="005C2F"/>
                </a:solidFill>
              </a:rPr>
              <a:t>Positivos</a:t>
            </a:r>
          </a:p>
        </p:txBody>
      </p:sp>
      <p:cxnSp>
        <p:nvCxnSpPr>
          <p:cNvPr id="29" name="Conector de Seta Reta 28"/>
          <p:cNvCxnSpPr/>
          <p:nvPr/>
        </p:nvCxnSpPr>
        <p:spPr>
          <a:xfrm flipV="1">
            <a:off x="6222195" y="1529665"/>
            <a:ext cx="663189" cy="1"/>
          </a:xfrm>
          <a:prstGeom prst="straightConnector1">
            <a:avLst/>
          </a:prstGeom>
          <a:ln>
            <a:solidFill>
              <a:srgbClr val="14405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tângulo 31"/>
          <p:cNvSpPr/>
          <p:nvPr/>
        </p:nvSpPr>
        <p:spPr>
          <a:xfrm>
            <a:off x="384803" y="2527601"/>
            <a:ext cx="342101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Caso: A Peixes da Amazônia S.A.</a:t>
            </a:r>
            <a:endParaRPr lang="pt-BR" b="1" u="sng" kern="0" dirty="0">
              <a:solidFill>
                <a:srgbClr val="448D62"/>
              </a:solidFill>
              <a:latin typeface="+mj-lt"/>
            </a:endParaRPr>
          </a:p>
        </p:txBody>
      </p:sp>
      <p:sp>
        <p:nvSpPr>
          <p:cNvPr id="34" name="Retângulo 33"/>
          <p:cNvSpPr/>
          <p:nvPr/>
        </p:nvSpPr>
        <p:spPr>
          <a:xfrm>
            <a:off x="384803" y="2857034"/>
            <a:ext cx="8209503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2 problemas: o </a:t>
            </a:r>
            <a:r>
              <a:rPr lang="pt-BR" sz="1200" u="sng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desmatamento da Floresta Amazônia</a:t>
            </a: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 e a </a:t>
            </a:r>
            <a:r>
              <a:rPr lang="pt-BR" sz="1200" u="sng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pobreza da comunidade local</a:t>
            </a: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. </a:t>
            </a:r>
            <a:endParaRPr lang="pt-BR" sz="1200" dirty="0">
              <a:solidFill>
                <a:srgbClr val="265751"/>
              </a:solidFill>
            </a:endParaRPr>
          </a:p>
        </p:txBody>
      </p:sp>
      <p:pic>
        <p:nvPicPr>
          <p:cNvPr id="67" name="Picture 4" descr="http://www.kaeteinvestimentos.com.br/wp-content/uploads/2015/10/Logo-retina-mi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459" y="3790307"/>
            <a:ext cx="1099000" cy="30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" descr="https://static.wixstatic.com/media/4798a8_ee2200a53622464b95d3b3d5e6d70ffb.png/v1/fill/w_258,h_344,al_c,usm_0.33_1.00_0.00/4798a8_ee2200a53622464b95d3b3d5e6d70ff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9377" y="3632958"/>
            <a:ext cx="589340" cy="785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9" name="Grupo 68"/>
          <p:cNvGrpSpPr/>
          <p:nvPr/>
        </p:nvGrpSpPr>
        <p:grpSpPr>
          <a:xfrm>
            <a:off x="4099258" y="3498008"/>
            <a:ext cx="1015724" cy="886798"/>
            <a:chOff x="2411730" y="3446913"/>
            <a:chExt cx="1197960" cy="1026781"/>
          </a:xfrm>
        </p:grpSpPr>
        <p:pic>
          <p:nvPicPr>
            <p:cNvPr id="70" name="Imagem 69"/>
            <p:cNvPicPr>
              <a:picLocks noChangeAspect="1"/>
            </p:cNvPicPr>
            <p:nvPr/>
          </p:nvPicPr>
          <p:blipFill rotWithShape="1">
            <a:blip r:embed="rId9"/>
            <a:srcRect r="67308" b="47219"/>
            <a:stretch/>
          </p:blipFill>
          <p:spPr>
            <a:xfrm>
              <a:off x="2594892" y="3553146"/>
              <a:ext cx="831633" cy="55452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71" name="CaixaDeTexto 70"/>
            <p:cNvSpPr txBox="1"/>
            <p:nvPr/>
          </p:nvSpPr>
          <p:spPr>
            <a:xfrm>
              <a:off x="2411732" y="4081083"/>
              <a:ext cx="11979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900" b="1" dirty="0"/>
                <a:t>Pequeno Piscicultor</a:t>
              </a:r>
            </a:p>
          </p:txBody>
        </p:sp>
        <p:sp>
          <p:nvSpPr>
            <p:cNvPr id="72" name="Retângulo 71"/>
            <p:cNvSpPr/>
            <p:nvPr/>
          </p:nvSpPr>
          <p:spPr>
            <a:xfrm>
              <a:off x="2411730" y="3446913"/>
              <a:ext cx="1197959" cy="1026781"/>
            </a:xfrm>
            <a:prstGeom prst="rect">
              <a:avLst/>
            </a:prstGeom>
            <a:noFill/>
            <a:ln w="19050">
              <a:solidFill>
                <a:srgbClr val="14405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04" name="Grupo 103"/>
          <p:cNvGrpSpPr/>
          <p:nvPr/>
        </p:nvGrpSpPr>
        <p:grpSpPr>
          <a:xfrm>
            <a:off x="1669685" y="3612016"/>
            <a:ext cx="540000" cy="544641"/>
            <a:chOff x="1669685" y="3612016"/>
            <a:chExt cx="540000" cy="544641"/>
          </a:xfrm>
        </p:grpSpPr>
        <p:sp>
          <p:nvSpPr>
            <p:cNvPr id="75" name="CaixaDeTexto 74"/>
            <p:cNvSpPr txBox="1"/>
            <p:nvPr/>
          </p:nvSpPr>
          <p:spPr>
            <a:xfrm>
              <a:off x="1810525" y="3612016"/>
              <a:ext cx="28725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100" b="1" i="1">
                  <a:solidFill>
                    <a:srgbClr val="005C2F"/>
                  </a:solidFill>
                </a:rPr>
                <a:t>K</a:t>
              </a:r>
              <a:endParaRPr lang="pt-BR" sz="1100" b="1" i="1" dirty="0">
                <a:solidFill>
                  <a:srgbClr val="005C2F"/>
                </a:solidFill>
              </a:endParaRPr>
            </a:p>
          </p:txBody>
        </p:sp>
        <p:cxnSp>
          <p:nvCxnSpPr>
            <p:cNvPr id="76" name="Conector de Seta Reta 75"/>
            <p:cNvCxnSpPr/>
            <p:nvPr/>
          </p:nvCxnSpPr>
          <p:spPr>
            <a:xfrm flipV="1">
              <a:off x="1669685" y="3857811"/>
              <a:ext cx="540000" cy="1"/>
            </a:xfrm>
            <a:prstGeom prst="straightConnector1">
              <a:avLst/>
            </a:prstGeom>
            <a:ln>
              <a:solidFill>
                <a:srgbClr val="14405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de Seta Reta 76"/>
            <p:cNvCxnSpPr/>
            <p:nvPr/>
          </p:nvCxnSpPr>
          <p:spPr>
            <a:xfrm flipH="1">
              <a:off x="1669685" y="4119066"/>
              <a:ext cx="540000" cy="0"/>
            </a:xfrm>
            <a:prstGeom prst="straightConnector1">
              <a:avLst/>
            </a:prstGeom>
            <a:ln>
              <a:solidFill>
                <a:srgbClr val="14405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CaixaDeTexto 77"/>
            <p:cNvSpPr txBox="1"/>
            <p:nvPr/>
          </p:nvSpPr>
          <p:spPr>
            <a:xfrm>
              <a:off x="1802151" y="3895047"/>
              <a:ext cx="26321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100" b="1" i="1">
                  <a:solidFill>
                    <a:srgbClr val="005C2F"/>
                  </a:solidFill>
                </a:rPr>
                <a:t>$</a:t>
              </a:r>
              <a:endParaRPr lang="pt-BR" sz="1100" b="1" i="1" dirty="0">
                <a:solidFill>
                  <a:srgbClr val="005C2F"/>
                </a:solidFill>
              </a:endParaRPr>
            </a:p>
          </p:txBody>
        </p:sp>
      </p:grpSp>
      <p:grpSp>
        <p:nvGrpSpPr>
          <p:cNvPr id="107" name="Grupo 106"/>
          <p:cNvGrpSpPr/>
          <p:nvPr/>
        </p:nvGrpSpPr>
        <p:grpSpPr>
          <a:xfrm>
            <a:off x="1603046" y="4418745"/>
            <a:ext cx="2024601" cy="551644"/>
            <a:chOff x="1603046" y="4418745"/>
            <a:chExt cx="2024601" cy="551644"/>
          </a:xfrm>
        </p:grpSpPr>
        <p:sp>
          <p:nvSpPr>
            <p:cNvPr id="73" name="CaixaDeTexto 72"/>
            <p:cNvSpPr txBox="1"/>
            <p:nvPr/>
          </p:nvSpPr>
          <p:spPr>
            <a:xfrm>
              <a:off x="3088717" y="4644332"/>
              <a:ext cx="538930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pt-BR" sz="1000" b="1" i="1" dirty="0">
                  <a:solidFill>
                    <a:srgbClr val="005C2F"/>
                  </a:solidFill>
                </a:rPr>
                <a:t>Brasil</a:t>
              </a:r>
            </a:p>
          </p:txBody>
        </p:sp>
        <p:sp>
          <p:nvSpPr>
            <p:cNvPr id="74" name="CaixaDeTexto 73"/>
            <p:cNvSpPr txBox="1"/>
            <p:nvPr/>
          </p:nvSpPr>
          <p:spPr>
            <a:xfrm>
              <a:off x="1603046" y="4647224"/>
              <a:ext cx="880369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pt-BR" sz="1000" b="1" i="1">
                  <a:solidFill>
                    <a:srgbClr val="005C2F"/>
                  </a:solidFill>
                </a:rPr>
                <a:t>Exportação</a:t>
              </a:r>
              <a:endParaRPr lang="pt-BR" sz="1000" b="1" i="1" dirty="0">
                <a:solidFill>
                  <a:srgbClr val="005C2F"/>
                </a:solidFill>
              </a:endParaRPr>
            </a:p>
          </p:txBody>
        </p:sp>
        <p:cxnSp>
          <p:nvCxnSpPr>
            <p:cNvPr id="6" name="Conector em Curva 5"/>
            <p:cNvCxnSpPr>
              <a:stCxn id="68" idx="2"/>
              <a:endCxn id="74" idx="3"/>
            </p:cNvCxnSpPr>
            <p:nvPr/>
          </p:nvCxnSpPr>
          <p:spPr>
            <a:xfrm rot="5400000">
              <a:off x="2443700" y="4458460"/>
              <a:ext cx="390062" cy="310632"/>
            </a:xfrm>
            <a:prstGeom prst="curvedConnector2">
              <a:avLst/>
            </a:prstGeom>
            <a:ln>
              <a:solidFill>
                <a:srgbClr val="144057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ector em Curva 7"/>
            <p:cNvCxnSpPr>
              <a:stCxn id="68" idx="2"/>
              <a:endCxn id="73" idx="1"/>
            </p:cNvCxnSpPr>
            <p:nvPr/>
          </p:nvCxnSpPr>
          <p:spPr>
            <a:xfrm rot="16200000" flipH="1">
              <a:off x="2747797" y="4464995"/>
              <a:ext cx="387170" cy="294670"/>
            </a:xfrm>
            <a:prstGeom prst="curvedConnector2">
              <a:avLst/>
            </a:prstGeom>
            <a:ln>
              <a:solidFill>
                <a:srgbClr val="144057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o 108"/>
          <p:cNvGrpSpPr/>
          <p:nvPr/>
        </p:nvGrpSpPr>
        <p:grpSpPr>
          <a:xfrm>
            <a:off x="5537930" y="3301344"/>
            <a:ext cx="3340599" cy="1613524"/>
            <a:chOff x="5537930" y="3301344"/>
            <a:chExt cx="3340599" cy="1613524"/>
          </a:xfrm>
        </p:grpSpPr>
        <p:sp>
          <p:nvSpPr>
            <p:cNvPr id="15" name="Chave Esquerda 14"/>
            <p:cNvSpPr/>
            <p:nvPr/>
          </p:nvSpPr>
          <p:spPr>
            <a:xfrm>
              <a:off x="5537930" y="3339500"/>
              <a:ext cx="330357" cy="1575368"/>
            </a:xfrm>
            <a:prstGeom prst="leftBrace">
              <a:avLst>
                <a:gd name="adj1" fmla="val 8333"/>
                <a:gd name="adj2" fmla="val 40638"/>
              </a:avLst>
            </a:prstGeom>
            <a:ln w="19050">
              <a:solidFill>
                <a:srgbClr val="14405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" name="Retângulo 82"/>
            <p:cNvSpPr/>
            <p:nvPr/>
          </p:nvSpPr>
          <p:spPr>
            <a:xfrm>
              <a:off x="5855495" y="3301344"/>
              <a:ext cx="3023034" cy="369332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pt-BR" sz="1200" b="1" u="sng" dirty="0">
                  <a:solidFill>
                    <a:srgbClr val="265751"/>
                  </a:solidFill>
                  <a:latin typeface="+mj-lt"/>
                  <a:sym typeface="Wingdings" panose="05000000000000000000" pitchFamily="2" charset="2"/>
                </a:rPr>
                <a:t>Impactos Positivos</a:t>
              </a:r>
              <a:endParaRPr lang="pt-BR" sz="1200" b="1" u="sng" dirty="0">
                <a:solidFill>
                  <a:srgbClr val="265751"/>
                </a:solidFill>
              </a:endParaRPr>
            </a:p>
          </p:txBody>
        </p:sp>
      </p:grpSp>
      <p:sp>
        <p:nvSpPr>
          <p:cNvPr id="84" name="Retângulo 83"/>
          <p:cNvSpPr/>
          <p:nvPr/>
        </p:nvSpPr>
        <p:spPr>
          <a:xfrm>
            <a:off x="5823480" y="3638027"/>
            <a:ext cx="3170825" cy="1107996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indent="-285750">
              <a:lnSpc>
                <a:spcPct val="200000"/>
              </a:lnSpc>
              <a:buFont typeface="Wingdings" charset="2"/>
              <a:buChar char="ü"/>
            </a:pPr>
            <a:r>
              <a:rPr lang="pt-BR" sz="11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Geração de renda ao pequeno produtor;</a:t>
            </a:r>
          </a:p>
          <a:p>
            <a:pPr marL="285750" indent="-285750">
              <a:lnSpc>
                <a:spcPct val="200000"/>
              </a:lnSpc>
              <a:buFont typeface="Wingdings" charset="2"/>
              <a:buChar char="ü"/>
            </a:pPr>
            <a:r>
              <a:rPr lang="pt-BR" sz="11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Controle do desmatamento;</a:t>
            </a:r>
          </a:p>
          <a:p>
            <a:pPr marL="285750" indent="-285750">
              <a:lnSpc>
                <a:spcPct val="200000"/>
              </a:lnSpc>
              <a:buFont typeface="Wingdings" charset="2"/>
              <a:buChar char="ü"/>
            </a:pPr>
            <a:r>
              <a:rPr lang="pt-BR" sz="11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Reflorestamento de áreas degradadas. </a:t>
            </a:r>
            <a:endParaRPr lang="pt-BR" sz="1100" dirty="0">
              <a:solidFill>
                <a:srgbClr val="265751"/>
              </a:solidFill>
            </a:endParaRPr>
          </a:p>
        </p:txBody>
      </p:sp>
      <p:grpSp>
        <p:nvGrpSpPr>
          <p:cNvPr id="105" name="Grupo 104"/>
          <p:cNvGrpSpPr/>
          <p:nvPr/>
        </p:nvGrpSpPr>
        <p:grpSpPr>
          <a:xfrm>
            <a:off x="3310332" y="3450421"/>
            <a:ext cx="567311" cy="587440"/>
            <a:chOff x="3310332" y="3450421"/>
            <a:chExt cx="567311" cy="587440"/>
          </a:xfrm>
        </p:grpSpPr>
        <p:cxnSp>
          <p:nvCxnSpPr>
            <p:cNvPr id="79" name="Conector de Seta Reta 78"/>
            <p:cNvCxnSpPr/>
            <p:nvPr/>
          </p:nvCxnSpPr>
          <p:spPr>
            <a:xfrm flipV="1">
              <a:off x="3310332" y="3702504"/>
              <a:ext cx="540000" cy="1"/>
            </a:xfrm>
            <a:prstGeom prst="straightConnector1">
              <a:avLst/>
            </a:prstGeom>
            <a:ln>
              <a:solidFill>
                <a:srgbClr val="14405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ector de Seta Reta 79"/>
            <p:cNvCxnSpPr/>
            <p:nvPr/>
          </p:nvCxnSpPr>
          <p:spPr>
            <a:xfrm flipH="1">
              <a:off x="3337643" y="3966288"/>
              <a:ext cx="540000" cy="0"/>
            </a:xfrm>
            <a:prstGeom prst="straightConnector1">
              <a:avLst/>
            </a:prstGeom>
            <a:ln>
              <a:solidFill>
                <a:srgbClr val="14405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1" name="Gráfico 5" descr="Peixe"/>
            <p:cNvPicPr>
              <a:picLocks noChangeAspect="1"/>
            </p:cNvPicPr>
            <p:nvPr/>
          </p:nvPicPr>
          <p:blipFill>
            <a:blip r:embed="rId10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flipH="1">
              <a:off x="3450825" y="3703917"/>
              <a:ext cx="354997" cy="333944"/>
            </a:xfrm>
            <a:prstGeom prst="rect">
              <a:avLst/>
            </a:prstGeom>
            <a:ln>
              <a:noFill/>
            </a:ln>
          </p:spPr>
        </p:pic>
        <p:sp>
          <p:nvSpPr>
            <p:cNvPr id="82" name="CaixaDeTexto 81"/>
            <p:cNvSpPr txBox="1"/>
            <p:nvPr/>
          </p:nvSpPr>
          <p:spPr>
            <a:xfrm>
              <a:off x="3448725" y="3450421"/>
              <a:ext cx="26321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100" b="1" i="1">
                  <a:solidFill>
                    <a:srgbClr val="005C2F"/>
                  </a:solidFill>
                </a:rPr>
                <a:t>$</a:t>
              </a:r>
              <a:endParaRPr lang="pt-BR" sz="1100" b="1" i="1" dirty="0">
                <a:solidFill>
                  <a:srgbClr val="005C2F"/>
                </a:solidFill>
              </a:endParaRPr>
            </a:p>
          </p:txBody>
        </p:sp>
      </p:grpSp>
      <p:grpSp>
        <p:nvGrpSpPr>
          <p:cNvPr id="106" name="Grupo 105"/>
          <p:cNvGrpSpPr/>
          <p:nvPr/>
        </p:nvGrpSpPr>
        <p:grpSpPr>
          <a:xfrm>
            <a:off x="3310332" y="4013338"/>
            <a:ext cx="540000" cy="286637"/>
            <a:chOff x="3310332" y="4013338"/>
            <a:chExt cx="540000" cy="286637"/>
          </a:xfrm>
        </p:grpSpPr>
        <p:cxnSp>
          <p:nvCxnSpPr>
            <p:cNvPr id="95" name="Conector de Seta Reta 94"/>
            <p:cNvCxnSpPr/>
            <p:nvPr/>
          </p:nvCxnSpPr>
          <p:spPr>
            <a:xfrm flipV="1">
              <a:off x="3310332" y="4283111"/>
              <a:ext cx="540000" cy="1"/>
            </a:xfrm>
            <a:prstGeom prst="straightConnector1">
              <a:avLst/>
            </a:prstGeom>
            <a:ln>
              <a:solidFill>
                <a:srgbClr val="14405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6" name="Gráfico 1" descr="Planta"/>
            <p:cNvPicPr>
              <a:picLocks noChangeAspect="1"/>
            </p:cNvPicPr>
            <p:nvPr/>
          </p:nvPicPr>
          <p:blipFill>
            <a:blip r:embed="rId12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444501" y="4013338"/>
              <a:ext cx="286637" cy="286637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08" name="Grupo 107"/>
          <p:cNvGrpSpPr/>
          <p:nvPr/>
        </p:nvGrpSpPr>
        <p:grpSpPr>
          <a:xfrm>
            <a:off x="4215523" y="4424134"/>
            <a:ext cx="1454293" cy="682671"/>
            <a:chOff x="4215523" y="4424134"/>
            <a:chExt cx="1454293" cy="682671"/>
          </a:xfrm>
        </p:grpSpPr>
        <p:sp>
          <p:nvSpPr>
            <p:cNvPr id="89" name="CaixaDeTexto 88"/>
            <p:cNvSpPr txBox="1"/>
            <p:nvPr/>
          </p:nvSpPr>
          <p:spPr>
            <a:xfrm>
              <a:off x="4215523" y="4706695"/>
              <a:ext cx="78319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b="1" i="1">
                  <a:solidFill>
                    <a:srgbClr val="005C2F"/>
                  </a:solidFill>
                </a:rPr>
                <a:t>Mercado Local</a:t>
              </a:r>
              <a:endParaRPr lang="pt-BR" sz="1000" b="1" i="1" dirty="0">
                <a:solidFill>
                  <a:srgbClr val="005C2F"/>
                </a:solidFill>
              </a:endParaRPr>
            </a:p>
          </p:txBody>
        </p:sp>
        <p:cxnSp>
          <p:nvCxnSpPr>
            <p:cNvPr id="90" name="Conector de Seta Reta 89"/>
            <p:cNvCxnSpPr/>
            <p:nvPr/>
          </p:nvCxnSpPr>
          <p:spPr>
            <a:xfrm>
              <a:off x="4685777" y="4424134"/>
              <a:ext cx="0" cy="321889"/>
            </a:xfrm>
            <a:prstGeom prst="straightConnector1">
              <a:avLst/>
            </a:prstGeom>
            <a:ln>
              <a:solidFill>
                <a:srgbClr val="14405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ector de Seta Reta 91"/>
            <p:cNvCxnSpPr/>
            <p:nvPr/>
          </p:nvCxnSpPr>
          <p:spPr>
            <a:xfrm flipV="1">
              <a:off x="4518626" y="4424134"/>
              <a:ext cx="0" cy="321889"/>
            </a:xfrm>
            <a:prstGeom prst="straightConnector1">
              <a:avLst/>
            </a:prstGeom>
            <a:ln>
              <a:solidFill>
                <a:srgbClr val="14405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CaixaDeTexto 96"/>
            <p:cNvSpPr txBox="1"/>
            <p:nvPr/>
          </p:nvSpPr>
          <p:spPr>
            <a:xfrm>
              <a:off x="4298750" y="4479050"/>
              <a:ext cx="26321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100" b="1" i="1">
                  <a:solidFill>
                    <a:srgbClr val="005C2F"/>
                  </a:solidFill>
                </a:rPr>
                <a:t>$</a:t>
              </a:r>
              <a:endParaRPr lang="pt-BR" sz="1100" b="1" i="1" dirty="0">
                <a:solidFill>
                  <a:srgbClr val="005C2F"/>
                </a:solidFill>
              </a:endParaRPr>
            </a:p>
          </p:txBody>
        </p:sp>
        <p:sp>
          <p:nvSpPr>
            <p:cNvPr id="98" name="CaixaDeTexto 97"/>
            <p:cNvSpPr txBox="1"/>
            <p:nvPr/>
          </p:nvSpPr>
          <p:spPr>
            <a:xfrm>
              <a:off x="4677666" y="4428913"/>
              <a:ext cx="9921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700" b="1" i="1" dirty="0">
                  <a:solidFill>
                    <a:srgbClr val="005C2F"/>
                  </a:solidFill>
                </a:rPr>
                <a:t>Pescados e </a:t>
              </a:r>
              <a:r>
                <a:rPr lang="pt-BR" sz="700" b="1" i="1">
                  <a:solidFill>
                    <a:srgbClr val="005C2F"/>
                  </a:solidFill>
                </a:rPr>
                <a:t>produtos florestais</a:t>
              </a:r>
              <a:endParaRPr lang="pt-BR" sz="700" b="1" i="1" dirty="0">
                <a:solidFill>
                  <a:srgbClr val="005C2F"/>
                </a:solidFill>
              </a:endParaRPr>
            </a:p>
          </p:txBody>
        </p:sp>
      </p:grpSp>
      <p:sp>
        <p:nvSpPr>
          <p:cNvPr id="99" name="Retângulo 98"/>
          <p:cNvSpPr/>
          <p:nvPr/>
        </p:nvSpPr>
        <p:spPr>
          <a:xfrm>
            <a:off x="5825192" y="3741832"/>
            <a:ext cx="2885382" cy="1004191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ln w="0"/>
                <a:solidFill>
                  <a:srgbClr val="2657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cremento de 83% </a:t>
            </a:r>
            <a:r>
              <a:rPr lang="pt-BR">
                <a:ln w="0"/>
                <a:solidFill>
                  <a:srgbClr val="2657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a renda</a:t>
            </a:r>
          </a:p>
        </p:txBody>
      </p:sp>
      <p:sp>
        <p:nvSpPr>
          <p:cNvPr id="101" name="Retângulo 100"/>
          <p:cNvSpPr/>
          <p:nvPr/>
        </p:nvSpPr>
        <p:spPr>
          <a:xfrm>
            <a:off x="5819944" y="3741832"/>
            <a:ext cx="2885382" cy="1004191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pt-BR" dirty="0">
                <a:ln w="0"/>
                <a:solidFill>
                  <a:srgbClr val="2657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5 mil hectares de </a:t>
            </a:r>
          </a:p>
          <a:p>
            <a:pPr algn="ctr">
              <a:lnSpc>
                <a:spcPct val="150000"/>
              </a:lnSpc>
            </a:pPr>
            <a:r>
              <a:rPr lang="pt-BR" dirty="0">
                <a:ln w="0"/>
                <a:solidFill>
                  <a:srgbClr val="2657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loresta amazônica protegidos</a:t>
            </a:r>
          </a:p>
        </p:txBody>
      </p:sp>
      <p:pic>
        <p:nvPicPr>
          <p:cNvPr id="100" name="Imagem 9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09312" y="1278477"/>
            <a:ext cx="1346200" cy="11684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6" grpId="0" animBg="1"/>
      <p:bldP spid="58" grpId="0"/>
      <p:bldP spid="59" grpId="0"/>
      <p:bldP spid="23" grpId="0" animBg="1"/>
      <p:bldP spid="28" grpId="0"/>
      <p:bldP spid="32" grpId="0"/>
      <p:bldP spid="34" grpId="0"/>
      <p:bldP spid="99" grpId="0" animBg="1"/>
      <p:bldP spid="10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entágono 26"/>
          <p:cNvSpPr/>
          <p:nvPr/>
        </p:nvSpPr>
        <p:spPr>
          <a:xfrm rot="5400000">
            <a:off x="1050867" y="3394022"/>
            <a:ext cx="1074414" cy="2127362"/>
          </a:xfrm>
          <a:prstGeom prst="homePlate">
            <a:avLst>
              <a:gd name="adj" fmla="val 29531"/>
            </a:avLst>
          </a:prstGeom>
          <a:solidFill>
            <a:srgbClr val="94BF6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pt-BR" sz="1300" dirty="0"/>
          </a:p>
          <a:p>
            <a:pPr algn="ctr"/>
            <a:r>
              <a:rPr lang="pt-BR" sz="1300" dirty="0"/>
              <a:t>5. Cálculo </a:t>
            </a:r>
            <a:br>
              <a:rPr lang="pt-BR" sz="1300" dirty="0"/>
            </a:br>
            <a:r>
              <a:rPr lang="pt-BR" sz="1300" dirty="0"/>
              <a:t>do SROI</a:t>
            </a:r>
          </a:p>
        </p:txBody>
      </p:sp>
      <p:sp>
        <p:nvSpPr>
          <p:cNvPr id="26" name="Pentágono 25"/>
          <p:cNvSpPr/>
          <p:nvPr/>
        </p:nvSpPr>
        <p:spPr>
          <a:xfrm rot="5400000">
            <a:off x="1105506" y="2602638"/>
            <a:ext cx="965138" cy="2127362"/>
          </a:xfrm>
          <a:prstGeom prst="homePlate">
            <a:avLst>
              <a:gd name="adj" fmla="val 26177"/>
            </a:avLst>
          </a:prstGeom>
          <a:solidFill>
            <a:srgbClr val="448D6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pt-BR" sz="1200" dirty="0"/>
          </a:p>
          <a:p>
            <a:pPr algn="ctr"/>
            <a:endParaRPr lang="pt-BR" sz="100" dirty="0"/>
          </a:p>
          <a:p>
            <a:pPr algn="ctr"/>
            <a:r>
              <a:rPr lang="pt-BR" sz="1200" dirty="0"/>
              <a:t>4. Estabelecimento </a:t>
            </a:r>
            <a:br>
              <a:rPr lang="pt-BR" sz="1200" dirty="0"/>
            </a:br>
            <a:r>
              <a:rPr lang="pt-BR" sz="1200" dirty="0"/>
              <a:t>dos Impactos</a:t>
            </a:r>
          </a:p>
        </p:txBody>
      </p:sp>
      <p:sp>
        <p:nvSpPr>
          <p:cNvPr id="21" name="Pentágono 20"/>
          <p:cNvSpPr/>
          <p:nvPr/>
        </p:nvSpPr>
        <p:spPr>
          <a:xfrm rot="5400000">
            <a:off x="1045322" y="1856856"/>
            <a:ext cx="1085506" cy="2127362"/>
          </a:xfrm>
          <a:prstGeom prst="homePlate">
            <a:avLst>
              <a:gd name="adj" fmla="val 26372"/>
            </a:avLst>
          </a:prstGeom>
          <a:solidFill>
            <a:srgbClr val="26575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pt-BR" sz="1200" dirty="0"/>
          </a:p>
          <a:p>
            <a:pPr algn="ctr"/>
            <a:endParaRPr lang="pt-BR" sz="600" dirty="0"/>
          </a:p>
          <a:p>
            <a:pPr algn="ctr"/>
            <a:r>
              <a:rPr lang="pt-BR" sz="1200" dirty="0"/>
              <a:t>3. Atribuição de Valor</a:t>
            </a:r>
            <a:br>
              <a:rPr lang="pt-BR" sz="1200" dirty="0"/>
            </a:br>
            <a:r>
              <a:rPr lang="pt-BR" sz="1200" dirty="0"/>
              <a:t> aos Resultados</a:t>
            </a:r>
          </a:p>
        </p:txBody>
      </p:sp>
      <p:sp>
        <p:nvSpPr>
          <p:cNvPr id="20" name="Pentágono 19"/>
          <p:cNvSpPr/>
          <p:nvPr/>
        </p:nvSpPr>
        <p:spPr>
          <a:xfrm rot="5400000">
            <a:off x="1028278" y="1136843"/>
            <a:ext cx="1119600" cy="2127362"/>
          </a:xfrm>
          <a:prstGeom prst="homePlate">
            <a:avLst>
              <a:gd name="adj" fmla="val 29531"/>
            </a:avLst>
          </a:prstGeom>
          <a:solidFill>
            <a:srgbClr val="28647B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pt-BR" sz="1800"/>
          </a:p>
          <a:p>
            <a:pPr algn="ctr"/>
            <a:r>
              <a:rPr lang="pt-BR" sz="1200" dirty="0"/>
              <a:t>2. Mapeamento dos Resultados</a:t>
            </a:r>
          </a:p>
        </p:txBody>
      </p:sp>
      <p:sp>
        <p:nvSpPr>
          <p:cNvPr id="146" name="Shape 146"/>
          <p:cNvSpPr txBox="1">
            <a:spLocks noGrp="1"/>
          </p:cNvSpPr>
          <p:nvPr>
            <p:ph type="title"/>
          </p:nvPr>
        </p:nvSpPr>
        <p:spPr>
          <a:xfrm>
            <a:off x="1707134" y="154587"/>
            <a:ext cx="6687984" cy="606033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pt-BR" dirty="0"/>
              <a:t>A Metodologia SROI</a:t>
            </a:r>
            <a:endParaRPr lang="en" dirty="0"/>
          </a:p>
        </p:txBody>
      </p:sp>
      <p:sp>
        <p:nvSpPr>
          <p:cNvPr id="4" name="Pentágono 3"/>
          <p:cNvSpPr/>
          <p:nvPr/>
        </p:nvSpPr>
        <p:spPr>
          <a:xfrm rot="5400000">
            <a:off x="1092755" y="363712"/>
            <a:ext cx="990643" cy="2127362"/>
          </a:xfrm>
          <a:prstGeom prst="homePlate">
            <a:avLst>
              <a:gd name="adj" fmla="val 21454"/>
            </a:avLst>
          </a:prstGeom>
          <a:solidFill>
            <a:srgbClr val="144057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t-BR" sz="1200" dirty="0"/>
              <a:t>1. Definição do Escopo e </a:t>
            </a:r>
            <a:br>
              <a:rPr lang="pt-BR" sz="1200" dirty="0"/>
            </a:br>
            <a:r>
              <a:rPr lang="pt-BR" sz="1200" dirty="0"/>
              <a:t>dos Stakeholders</a:t>
            </a:r>
          </a:p>
        </p:txBody>
      </p:sp>
      <p:sp>
        <p:nvSpPr>
          <p:cNvPr id="6" name="Retângulo 5"/>
          <p:cNvSpPr/>
          <p:nvPr/>
        </p:nvSpPr>
        <p:spPr>
          <a:xfrm>
            <a:off x="2743200" y="966359"/>
            <a:ext cx="5383529" cy="612000"/>
          </a:xfrm>
          <a:prstGeom prst="rect">
            <a:avLst/>
          </a:prstGeom>
          <a:noFill/>
          <a:ln w="38100">
            <a:solidFill>
              <a:srgbClr val="144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Como cada stakeholder afeta ou é afetado pelo projeto;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Definição dos limites da análise.</a:t>
            </a:r>
          </a:p>
        </p:txBody>
      </p:sp>
      <p:sp>
        <p:nvSpPr>
          <p:cNvPr id="28" name="Retângulo 27"/>
          <p:cNvSpPr/>
          <p:nvPr/>
        </p:nvSpPr>
        <p:spPr>
          <a:xfrm>
            <a:off x="2743200" y="1657054"/>
            <a:ext cx="5383530" cy="720730"/>
          </a:xfrm>
          <a:prstGeom prst="rect">
            <a:avLst/>
          </a:prstGeom>
          <a:noFill/>
          <a:ln w="38100">
            <a:solidFill>
              <a:srgbClr val="2865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Identificação das entradas (inputs), saídas (outputs), e resultados (outcomes);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Racional de geração dos impactos.</a:t>
            </a:r>
          </a:p>
        </p:txBody>
      </p:sp>
      <p:sp>
        <p:nvSpPr>
          <p:cNvPr id="29" name="Retângulo 28"/>
          <p:cNvSpPr/>
          <p:nvPr/>
        </p:nvSpPr>
        <p:spPr>
          <a:xfrm>
            <a:off x="2743200" y="2452248"/>
            <a:ext cx="5383529" cy="684000"/>
          </a:xfrm>
          <a:prstGeom prst="rect">
            <a:avLst/>
          </a:prstGeom>
          <a:noFill/>
          <a:ln w="38100">
            <a:solidFill>
              <a:srgbClr val="2657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Levantamento de indicadores;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Construção de proxies financeiras para valoração dos indicadores.</a:t>
            </a:r>
          </a:p>
        </p:txBody>
      </p:sp>
      <p:sp>
        <p:nvSpPr>
          <p:cNvPr id="30" name="Retângulo 29"/>
          <p:cNvSpPr/>
          <p:nvPr/>
        </p:nvSpPr>
        <p:spPr>
          <a:xfrm>
            <a:off x="2743200" y="3218040"/>
            <a:ext cx="5383529" cy="648000"/>
          </a:xfrm>
          <a:prstGeom prst="rect">
            <a:avLst/>
          </a:prstGeom>
          <a:noFill/>
          <a:ln w="38100">
            <a:solidFill>
              <a:srgbClr val="448D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Definição do contrafactual e do drop-off;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Vácuo metodológico.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2743200" y="3956568"/>
            <a:ext cx="5383529" cy="691026"/>
          </a:xfrm>
          <a:prstGeom prst="rect">
            <a:avLst/>
          </a:prstGeom>
          <a:noFill/>
          <a:ln w="38100">
            <a:solidFill>
              <a:srgbClr val="B2E7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Aplicação da taxa de desconto;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pt-BR" sz="1100" dirty="0">
                <a:solidFill>
                  <a:srgbClr val="144057"/>
                </a:solidFill>
              </a:rPr>
              <a:t>SROI = VSP / INVESTIMENTO</a:t>
            </a:r>
          </a:p>
        </p:txBody>
      </p:sp>
      <p:sp>
        <p:nvSpPr>
          <p:cNvPr id="32" name="Retângulo 31"/>
          <p:cNvSpPr/>
          <p:nvPr/>
        </p:nvSpPr>
        <p:spPr>
          <a:xfrm rot="16200000">
            <a:off x="-577868" y="3553394"/>
            <a:ext cx="2021631" cy="276999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00" i="1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Fonte: Elaborado </a:t>
            </a:r>
            <a:r>
              <a:rPr lang="pt-BR" sz="800" i="1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pelo autor</a:t>
            </a:r>
            <a:endParaRPr lang="pt-BR" sz="800" i="1" dirty="0">
              <a:solidFill>
                <a:srgbClr val="2657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925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8" grpId="0" animBg="1"/>
      <p:bldP spid="29" grpId="0" animBg="1"/>
      <p:bldP spid="30" grpId="0" animBg="1"/>
      <p:bldP spid="3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6F2508-27BE-9DF9-B0F6-AA879646B2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433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Shape 146"/>
          <p:cNvSpPr txBox="1">
            <a:spLocks noGrp="1"/>
          </p:cNvSpPr>
          <p:nvPr>
            <p:ph type="title"/>
          </p:nvPr>
        </p:nvSpPr>
        <p:spPr>
          <a:xfrm>
            <a:off x="1707134" y="154587"/>
            <a:ext cx="6687984" cy="606033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pt-BR" dirty="0"/>
              <a:t>SROI aplicado ao Case Peixes da Amazônia</a:t>
            </a:r>
            <a:endParaRPr lang="en" dirty="0"/>
          </a:p>
        </p:txBody>
      </p:sp>
      <p:sp>
        <p:nvSpPr>
          <p:cNvPr id="23" name="Retângulo 22"/>
          <p:cNvSpPr/>
          <p:nvPr/>
        </p:nvSpPr>
        <p:spPr>
          <a:xfrm>
            <a:off x="813919" y="985079"/>
            <a:ext cx="723589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Aplicação do SROI ao Projeto de Modernização da Piscicultura na Amazônia</a:t>
            </a:r>
            <a:endParaRPr lang="pt-BR" i="1" kern="0" dirty="0">
              <a:solidFill>
                <a:srgbClr val="448D62"/>
              </a:solidFill>
              <a:latin typeface="+mj-lt"/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874208" y="1418059"/>
            <a:ext cx="6165690" cy="923330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sym typeface="Wingdings" panose="05000000000000000000" pitchFamily="2" charset="2"/>
              </a:rPr>
              <a:t>320 hectares de aquicultura em fazendas de 160 pequenos produtores no Acre;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sym typeface="Wingdings" panose="05000000000000000000" pitchFamily="2" charset="2"/>
              </a:rPr>
              <a:t>320 hectares de Sistemas Agroflorestais Produtivos;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sym typeface="Wingdings" panose="05000000000000000000" pitchFamily="2" charset="2"/>
              </a:rPr>
              <a:t>Investimento total: R$ 29,6 M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813919" y="2403773"/>
            <a:ext cx="723589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Verificar aplicabilidade e eficiência da ferramenta SROI, tendo em vista:</a:t>
            </a:r>
            <a:endParaRPr lang="pt-BR" i="1" kern="0" dirty="0">
              <a:solidFill>
                <a:srgbClr val="448D62"/>
              </a:solidFill>
              <a:latin typeface="+mj-lt"/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874207" y="2819271"/>
            <a:ext cx="3292519" cy="1200329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Potencialidades;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Limitações;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Contradições;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Vácuos metodológicos.</a:t>
            </a:r>
            <a:endParaRPr lang="pt-BR" sz="1200" dirty="0">
              <a:solidFill>
                <a:srgbClr val="265751"/>
              </a:solidFill>
              <a:sym typeface="Wingdings" panose="05000000000000000000" pitchFamily="2" charset="2"/>
            </a:endParaRPr>
          </a:p>
        </p:txBody>
      </p:sp>
      <p:cxnSp>
        <p:nvCxnSpPr>
          <p:cNvPr id="4" name="Conector Angulado 3"/>
          <p:cNvCxnSpPr>
            <a:stCxn id="23" idx="1"/>
            <a:endCxn id="18" idx="1"/>
          </p:cNvCxnSpPr>
          <p:nvPr/>
        </p:nvCxnSpPr>
        <p:spPr>
          <a:xfrm rot="10800000" flipV="1">
            <a:off x="813919" y="1192828"/>
            <a:ext cx="12700" cy="1418694"/>
          </a:xfrm>
          <a:prstGeom prst="bentConnector3">
            <a:avLst>
              <a:gd name="adj1" fmla="val 1800000"/>
            </a:avLst>
          </a:prstGeom>
          <a:ln w="19050">
            <a:solidFill>
              <a:srgbClr val="448D6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28817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Shape 146"/>
          <p:cNvSpPr txBox="1">
            <a:spLocks noGrp="1"/>
          </p:cNvSpPr>
          <p:nvPr>
            <p:ph type="title"/>
          </p:nvPr>
        </p:nvSpPr>
        <p:spPr>
          <a:xfrm>
            <a:off x="1707134" y="154587"/>
            <a:ext cx="6687984" cy="606033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pt-BR" dirty="0"/>
              <a:t>Proxies Financeiras</a:t>
            </a:r>
            <a:endParaRPr lang="en" dirty="0"/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987359"/>
              </p:ext>
            </p:extLst>
          </p:nvPr>
        </p:nvGraphicFramePr>
        <p:xfrm>
          <a:off x="481781" y="840629"/>
          <a:ext cx="8170606" cy="4079585"/>
        </p:xfrm>
        <a:graphic>
          <a:graphicData uri="http://schemas.openxmlformats.org/drawingml/2006/table">
            <a:tbl>
              <a:tblPr firstRow="1" bandRow="1">
                <a:tableStyleId>{9A7A7C70-CC58-4451-9814-69798780C260}</a:tableStyleId>
              </a:tblPr>
              <a:tblGrid>
                <a:gridCol w="45050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55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157">
                <a:tc>
                  <a:txBody>
                    <a:bodyPr/>
                    <a:lstStyle/>
                    <a:p>
                      <a:pPr algn="l"/>
                      <a:r>
                        <a:rPr lang="pt-BR" sz="1400" dirty="0">
                          <a:solidFill>
                            <a:schemeClr val="bg1"/>
                          </a:solidFill>
                        </a:rPr>
                        <a:t>Resultados</a:t>
                      </a:r>
                      <a:r>
                        <a:rPr lang="pt-BR" sz="1400" baseline="0" dirty="0">
                          <a:solidFill>
                            <a:schemeClr val="bg1"/>
                          </a:solidFill>
                        </a:rPr>
                        <a:t> (outcomes)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265750">
                        <a:alpha val="8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400" dirty="0">
                          <a:solidFill>
                            <a:schemeClr val="bg1"/>
                          </a:solidFill>
                        </a:rPr>
                        <a:t>Proxies</a:t>
                      </a:r>
                    </a:p>
                  </a:txBody>
                  <a:tcPr anchor="ctr">
                    <a:solidFill>
                      <a:srgbClr val="265750">
                        <a:alpha val="8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157">
                <a:tc>
                  <a:txBody>
                    <a:bodyPr/>
                    <a:lstStyle/>
                    <a:p>
                      <a:pPr algn="ctr"/>
                      <a:r>
                        <a:rPr lang="pt-BR" b="1" dirty="0"/>
                        <a:t>Fontes de valor social</a:t>
                      </a:r>
                    </a:p>
                  </a:txBody>
                  <a:tcPr anchor="ctr">
                    <a:solidFill>
                      <a:srgbClr val="B2E786">
                        <a:alpha val="7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t-BR" sz="1200" dirty="0"/>
                    </a:p>
                  </a:txBody>
                  <a:tcPr anchor="ctr">
                    <a:solidFill>
                      <a:srgbClr val="B2E786">
                        <a:alpha val="7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157">
                <a:tc>
                  <a:txBody>
                    <a:bodyPr/>
                    <a:lstStyle/>
                    <a:p>
                      <a:pPr algn="l"/>
                      <a:r>
                        <a:rPr lang="pt-BR" sz="1200" b="1" dirty="0"/>
                        <a:t>Acesso</a:t>
                      </a:r>
                      <a:r>
                        <a:rPr lang="pt-BR" sz="1200" b="1" baseline="0" dirty="0"/>
                        <a:t> a peixe nativo da Amazônia em mercados distantes</a:t>
                      </a:r>
                      <a:endParaRPr lang="pt-BR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[Produção incremental escoada] X ([preço do pescado amazônico] – [preço de peixe similar]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157"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Fortalecimento do cooperativism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[# extra</a:t>
                      </a:r>
                      <a:r>
                        <a:rPr lang="pt-BR" sz="1200" baseline="0" dirty="0"/>
                        <a:t> de cooperados] X [anuidade]</a:t>
                      </a:r>
                      <a:br>
                        <a:rPr lang="pt-BR" sz="1200" baseline="0" dirty="0"/>
                      </a:br>
                      <a:r>
                        <a:rPr lang="pt-BR" sz="1200" baseline="0" dirty="0"/>
                        <a:t>[redução da inadimplência] X [anuidade]</a:t>
                      </a:r>
                      <a:endParaRPr lang="pt-B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0157"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Profissionalização da piscicultur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[# famílias capacitadas] X [preço</a:t>
                      </a:r>
                      <a:r>
                        <a:rPr lang="pt-BR" sz="1200" baseline="0" dirty="0"/>
                        <a:t> curso]</a:t>
                      </a:r>
                      <a:endParaRPr lang="pt-B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0157"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Aumento</a:t>
                      </a:r>
                      <a:r>
                        <a:rPr lang="pt-BR" sz="1200" baseline="0" dirty="0"/>
                        <a:t> da produtividade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[lucratividade</a:t>
                      </a:r>
                      <a:r>
                        <a:rPr lang="pt-BR" sz="1200" baseline="0" dirty="0"/>
                        <a:t> depois] – [lucratividade antes]</a:t>
                      </a:r>
                      <a:endParaRPr lang="pt-B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0157"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/>
                        <a:t>Fontes de valor ambiental</a:t>
                      </a:r>
                    </a:p>
                  </a:txBody>
                  <a:tcPr anchor="ctr">
                    <a:solidFill>
                      <a:srgbClr val="B2E786">
                        <a:alpha val="7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pt-BR" sz="1200" dirty="0"/>
                    </a:p>
                  </a:txBody>
                  <a:tcPr anchor="ctr">
                    <a:solidFill>
                      <a:srgbClr val="B2E786">
                        <a:alpha val="7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0157">
                <a:tc>
                  <a:txBody>
                    <a:bodyPr/>
                    <a:lstStyle/>
                    <a:p>
                      <a:pPr algn="l"/>
                      <a:r>
                        <a:rPr lang="pt-BR" sz="1200" b="1" dirty="0"/>
                        <a:t>Preservação florestal das</a:t>
                      </a:r>
                      <a:r>
                        <a:rPr lang="pt-BR" sz="1200" b="1" baseline="0" dirty="0"/>
                        <a:t> áreas integradas</a:t>
                      </a:r>
                      <a:endParaRPr lang="pt-BR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[área preservada] X </a:t>
                      </a:r>
                    </a:p>
                    <a:p>
                      <a:pPr algn="l"/>
                      <a:r>
                        <a:rPr lang="pt-BR" sz="1200" dirty="0"/>
                        <a:t>[custo</a:t>
                      </a:r>
                      <a:r>
                        <a:rPr lang="pt-BR" sz="1200" baseline="0" dirty="0"/>
                        <a:t> de oportunidade por hectare na Amazônia]</a:t>
                      </a:r>
                      <a:endParaRPr lang="pt-B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0157"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Emissão de créditos</a:t>
                      </a:r>
                      <a:r>
                        <a:rPr lang="pt-BR" sz="1200" baseline="0" dirty="0"/>
                        <a:t> de carbono</a:t>
                      </a:r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[# hectares reflorestados] X </a:t>
                      </a:r>
                    </a:p>
                    <a:p>
                      <a:pPr algn="l"/>
                      <a:r>
                        <a:rPr lang="pt-BR" sz="1200" dirty="0"/>
                        <a:t>[renda com CC por</a:t>
                      </a:r>
                      <a:r>
                        <a:rPr lang="pt-BR" sz="1200" baseline="0" dirty="0"/>
                        <a:t> ha]</a:t>
                      </a:r>
                      <a:endParaRPr lang="pt-B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0" name="Retângulo 19"/>
          <p:cNvSpPr/>
          <p:nvPr/>
        </p:nvSpPr>
        <p:spPr>
          <a:xfrm rot="16200000">
            <a:off x="-644427" y="3770899"/>
            <a:ext cx="2021631" cy="276999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00" i="1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Fonte: Elaborado </a:t>
            </a:r>
            <a:r>
              <a:rPr lang="pt-BR" sz="800" i="1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pelo autor</a:t>
            </a:r>
            <a:endParaRPr lang="pt-BR" sz="800" i="1" dirty="0">
              <a:solidFill>
                <a:srgbClr val="265751"/>
              </a:solidFill>
            </a:endParaRPr>
          </a:p>
        </p:txBody>
      </p:sp>
      <p:sp>
        <p:nvSpPr>
          <p:cNvPr id="3" name="Retângulo Arredondado 2"/>
          <p:cNvSpPr/>
          <p:nvPr/>
        </p:nvSpPr>
        <p:spPr>
          <a:xfrm>
            <a:off x="403123" y="1661651"/>
            <a:ext cx="8347587" cy="599767"/>
          </a:xfrm>
          <a:prstGeom prst="roundRect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Arredondado 6"/>
          <p:cNvSpPr/>
          <p:nvPr/>
        </p:nvSpPr>
        <p:spPr>
          <a:xfrm>
            <a:off x="403123" y="3938894"/>
            <a:ext cx="8347587" cy="599767"/>
          </a:xfrm>
          <a:prstGeom prst="roundRect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597123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Shape 146"/>
          <p:cNvSpPr txBox="1">
            <a:spLocks noGrp="1"/>
          </p:cNvSpPr>
          <p:nvPr>
            <p:ph type="title"/>
          </p:nvPr>
        </p:nvSpPr>
        <p:spPr>
          <a:xfrm>
            <a:off x="1707134" y="154587"/>
            <a:ext cx="6687984" cy="606033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pt-BR" dirty="0"/>
              <a:t>Resultados</a:t>
            </a:r>
            <a:endParaRPr lang="en" dirty="0"/>
          </a:p>
        </p:txBody>
      </p:sp>
      <p:sp>
        <p:nvSpPr>
          <p:cNvPr id="49" name="Shape 146"/>
          <p:cNvSpPr txBox="1">
            <a:spLocks/>
          </p:cNvSpPr>
          <p:nvPr/>
        </p:nvSpPr>
        <p:spPr>
          <a:xfrm>
            <a:off x="874207" y="154586"/>
            <a:ext cx="736042" cy="60603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oboto Slab"/>
              <a:buNone/>
              <a:defRPr sz="1800" b="1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Roboto Slab"/>
              <a:buNone/>
              <a:defRPr sz="1800" b="1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r>
              <a:rPr lang="pt-BR" sz="2400" dirty="0"/>
              <a:t>5.</a:t>
            </a:r>
            <a:endParaRPr lang="en" sz="2400" dirty="0"/>
          </a:p>
        </p:txBody>
      </p:sp>
      <p:sp>
        <p:nvSpPr>
          <p:cNvPr id="23" name="Retângulo 22"/>
          <p:cNvSpPr/>
          <p:nvPr/>
        </p:nvSpPr>
        <p:spPr>
          <a:xfrm>
            <a:off x="384803" y="802199"/>
            <a:ext cx="723589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O SROI do projeto abordado</a:t>
            </a:r>
            <a:endParaRPr lang="pt-BR" i="1" kern="0" dirty="0">
              <a:solidFill>
                <a:srgbClr val="448D62"/>
              </a:solidFill>
              <a:latin typeface="+mj-lt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2440303"/>
              </p:ext>
            </p:extLst>
          </p:nvPr>
        </p:nvGraphicFramePr>
        <p:xfrm>
          <a:off x="1398269" y="1397000"/>
          <a:ext cx="6497033" cy="1112520"/>
        </p:xfrm>
        <a:graphic>
          <a:graphicData uri="http://schemas.openxmlformats.org/drawingml/2006/table">
            <a:tbl>
              <a:tblPr firstRow="1" bandRow="1">
                <a:tableStyleId>{9A7A7C70-CC58-4451-9814-69798780C260}</a:tableStyleId>
              </a:tblPr>
              <a:tblGrid>
                <a:gridCol w="31442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527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pt-BR" sz="1200" dirty="0">
                          <a:solidFill>
                            <a:srgbClr val="144057"/>
                          </a:solidFill>
                        </a:rPr>
                        <a:t>Investimento (entradas) =</a:t>
                      </a:r>
                      <a:r>
                        <a:rPr lang="pt-BR" sz="1200" baseline="0" dirty="0">
                          <a:solidFill>
                            <a:srgbClr val="144057"/>
                          </a:solidFill>
                        </a:rPr>
                        <a:t> R$ 29.6 M</a:t>
                      </a:r>
                      <a:endParaRPr lang="pt-BR" sz="1200" dirty="0">
                        <a:solidFill>
                          <a:srgbClr val="144057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solidFill>
                            <a:srgbClr val="144057"/>
                          </a:solidFill>
                        </a:rPr>
                        <a:t>SRO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pt-BR" sz="1200" dirty="0">
                          <a:solidFill>
                            <a:srgbClr val="144057"/>
                          </a:solidFill>
                        </a:rPr>
                        <a:t>Valor</a:t>
                      </a:r>
                      <a:r>
                        <a:rPr lang="pt-BR" sz="1200" baseline="0" dirty="0">
                          <a:solidFill>
                            <a:srgbClr val="144057"/>
                          </a:solidFill>
                        </a:rPr>
                        <a:t> social presente (VSP) = R$ 83.3 M</a:t>
                      </a:r>
                      <a:endParaRPr lang="pt-BR" sz="1200" dirty="0">
                        <a:solidFill>
                          <a:srgbClr val="144057"/>
                        </a:solidFill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400" b="1" dirty="0">
                          <a:solidFill>
                            <a:srgbClr val="144057"/>
                          </a:solidFill>
                        </a:rPr>
                        <a:t>1 : 2,8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000" b="0" i="1" u="none" strike="noStrike" cap="none" dirty="0">
                          <a:solidFill>
                            <a:srgbClr val="144057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“C</a:t>
                      </a:r>
                      <a:r>
                        <a:rPr lang="pt-BR" sz="1000" b="0" i="1" dirty="0">
                          <a:solidFill>
                            <a:srgbClr val="144057"/>
                          </a:solidFill>
                        </a:rPr>
                        <a:t>ada</a:t>
                      </a:r>
                      <a:r>
                        <a:rPr lang="pt-BR" sz="1000" b="0" i="1" baseline="0" dirty="0">
                          <a:solidFill>
                            <a:srgbClr val="144057"/>
                          </a:solidFill>
                        </a:rPr>
                        <a:t> </a:t>
                      </a:r>
                      <a:r>
                        <a:rPr lang="pt-BR" sz="1000" b="1" i="1" baseline="0" dirty="0">
                          <a:solidFill>
                            <a:srgbClr val="144057"/>
                          </a:solidFill>
                        </a:rPr>
                        <a:t>R$ 1</a:t>
                      </a:r>
                      <a:r>
                        <a:rPr lang="pt-BR" sz="1000" b="0" i="1" baseline="0" dirty="0">
                          <a:solidFill>
                            <a:srgbClr val="144057"/>
                          </a:solidFill>
                        </a:rPr>
                        <a:t> investido gera </a:t>
                      </a:r>
                      <a:r>
                        <a:rPr lang="pt-BR" sz="1000" b="1" i="1" baseline="0" dirty="0">
                          <a:solidFill>
                            <a:srgbClr val="144057"/>
                          </a:solidFill>
                        </a:rPr>
                        <a:t>R$ 2,8</a:t>
                      </a:r>
                      <a:r>
                        <a:rPr lang="pt-BR" sz="1000" b="0" i="1" baseline="0" dirty="0">
                          <a:solidFill>
                            <a:srgbClr val="144057"/>
                          </a:solidFill>
                        </a:rPr>
                        <a:t> em valor social</a:t>
                      </a:r>
                      <a:r>
                        <a:rPr lang="pt-BR" sz="1000" b="0" i="1" u="none" strike="noStrike" cap="none" dirty="0">
                          <a:solidFill>
                            <a:srgbClr val="144057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”</a:t>
                      </a:r>
                      <a:endParaRPr lang="pt-BR" sz="1000" b="0" i="1" dirty="0">
                        <a:solidFill>
                          <a:srgbClr val="144057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pt-BR" sz="1200" dirty="0">
                          <a:solidFill>
                            <a:srgbClr val="144057"/>
                          </a:solidFill>
                        </a:rPr>
                        <a:t>Taxa</a:t>
                      </a:r>
                      <a:r>
                        <a:rPr lang="pt-BR" sz="1200" baseline="0" dirty="0">
                          <a:solidFill>
                            <a:srgbClr val="144057"/>
                          </a:solidFill>
                        </a:rPr>
                        <a:t> de desconto = 7,5% a.a.</a:t>
                      </a:r>
                      <a:endParaRPr lang="pt-BR" sz="1200" dirty="0">
                        <a:solidFill>
                          <a:srgbClr val="144057"/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l"/>
                      <a:endParaRPr lang="pt-BR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0" name="Retângulo 19"/>
          <p:cNvSpPr/>
          <p:nvPr/>
        </p:nvSpPr>
        <p:spPr>
          <a:xfrm>
            <a:off x="384802" y="2688823"/>
            <a:ext cx="723589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Benchmark</a:t>
            </a:r>
            <a:endParaRPr lang="pt-BR" i="1" kern="0" dirty="0">
              <a:solidFill>
                <a:srgbClr val="448D62"/>
              </a:solidFill>
              <a:latin typeface="+mj-lt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384802" y="3057316"/>
            <a:ext cx="8209503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Análises SROI auditadas pela Social Value UK:</a:t>
            </a:r>
            <a:endParaRPr lang="pt-BR" sz="1200" dirty="0">
              <a:solidFill>
                <a:srgbClr val="265751"/>
              </a:solidFill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9075" y="3646170"/>
            <a:ext cx="5014390" cy="1160046"/>
          </a:xfrm>
          <a:prstGeom prst="rect">
            <a:avLst/>
          </a:prstGeom>
        </p:spPr>
      </p:pic>
      <p:sp>
        <p:nvSpPr>
          <p:cNvPr id="26" name="Retângulo 25"/>
          <p:cNvSpPr/>
          <p:nvPr/>
        </p:nvSpPr>
        <p:spPr>
          <a:xfrm>
            <a:off x="4931834" y="4748739"/>
            <a:ext cx="2021631" cy="276999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r">
              <a:lnSpc>
                <a:spcPct val="150000"/>
              </a:lnSpc>
            </a:pPr>
            <a:r>
              <a:rPr lang="pt-BR" sz="800" i="1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Fonte: Social Value UK </a:t>
            </a:r>
            <a:endParaRPr lang="pt-BR" sz="800" i="1" dirty="0">
              <a:solidFill>
                <a:srgbClr val="265751"/>
              </a:solidFill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5472639" y="2452043"/>
            <a:ext cx="2021631" cy="276999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r">
              <a:lnSpc>
                <a:spcPct val="150000"/>
              </a:lnSpc>
            </a:pPr>
            <a:r>
              <a:rPr lang="pt-BR" sz="800" i="1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Fonte: Elaborado pelo autor</a:t>
            </a:r>
            <a:endParaRPr lang="pt-BR" sz="800" i="1" dirty="0">
              <a:solidFill>
                <a:srgbClr val="2657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433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Shape 146"/>
          <p:cNvSpPr txBox="1">
            <a:spLocks noGrp="1"/>
          </p:cNvSpPr>
          <p:nvPr>
            <p:ph type="title"/>
          </p:nvPr>
        </p:nvSpPr>
        <p:spPr>
          <a:xfrm>
            <a:off x="1707134" y="154587"/>
            <a:ext cx="6687984" cy="606033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pt-BR" dirty="0"/>
              <a:t>Resultados</a:t>
            </a:r>
            <a:endParaRPr lang="en" dirty="0"/>
          </a:p>
        </p:txBody>
      </p:sp>
      <p:sp>
        <p:nvSpPr>
          <p:cNvPr id="23" name="Retângulo 22"/>
          <p:cNvSpPr/>
          <p:nvPr/>
        </p:nvSpPr>
        <p:spPr>
          <a:xfrm>
            <a:off x="384803" y="802199"/>
            <a:ext cx="723589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Análise de sensibilidade</a:t>
            </a:r>
            <a:endParaRPr lang="pt-BR" i="1" kern="0" dirty="0">
              <a:solidFill>
                <a:srgbClr val="448D62"/>
              </a:solidFill>
              <a:latin typeface="+mj-lt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384804" y="1171976"/>
            <a:ext cx="3852900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Análises SROI auditadas pela Social Value UK:</a:t>
            </a:r>
            <a:endParaRPr lang="pt-BR" sz="1200" dirty="0">
              <a:solidFill>
                <a:srgbClr val="265751"/>
              </a:solidFill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379509"/>
              </p:ext>
            </p:extLst>
          </p:nvPr>
        </p:nvGraphicFramePr>
        <p:xfrm>
          <a:off x="657754" y="1952664"/>
          <a:ext cx="7740000" cy="19710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47794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58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446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chemeClr val="tx1"/>
                          </a:solidFill>
                        </a:rPr>
                        <a:t>Variável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4BF6E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chemeClr val="tx1"/>
                          </a:solidFill>
                        </a:rPr>
                        <a:t>Margem de variação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4BF6E">
                        <a:alpha val="2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300" dirty="0">
                          <a:solidFill>
                            <a:schemeClr val="tx1"/>
                          </a:solidFill>
                        </a:rPr>
                        <a:t>Sensibilidade SRO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94BF6E">
                        <a:alpha val="2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Área reflorestada por família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200" u="none" strike="noStrike" cap="none" dirty="0">
                          <a:effectLst/>
                          <a:sym typeface="Arial"/>
                        </a:rPr>
                        <a:t>[1 – 3] hectares </a:t>
                      </a:r>
                      <a:endParaRPr lang="es-ES_tradnl" sz="1200" b="0" dirty="0"/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u="none" strike="noStrike" cap="none" dirty="0">
                          <a:effectLst/>
                          <a:sym typeface="Arial"/>
                        </a:rPr>
                        <a:t>[2,79 – 2,84] </a:t>
                      </a:r>
                      <a:endParaRPr lang="pt-BR" sz="1100" b="1" dirty="0"/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Parcela da produção vendida à </a:t>
                      </a:r>
                      <a:r>
                        <a:rPr lang="pt-BR" sz="1200" baseline="0" dirty="0"/>
                        <a:t> </a:t>
                      </a:r>
                      <a:r>
                        <a:rPr lang="pt-BR" sz="1200" dirty="0"/>
                        <a:t>Peixes</a:t>
                      </a:r>
                      <a:r>
                        <a:rPr lang="pt-BR" sz="1200" baseline="0" dirty="0"/>
                        <a:t> da Amazônia</a:t>
                      </a:r>
                      <a:endParaRPr lang="pt-BR" sz="1200" dirty="0"/>
                    </a:p>
                  </a:txBody>
                  <a:tcPr anchor="ctr"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u="none" strike="noStrike" cap="none" dirty="0">
                          <a:effectLst/>
                          <a:sym typeface="Arial"/>
                        </a:rPr>
                        <a:t>[70% – 90%] </a:t>
                      </a:r>
                      <a:endParaRPr lang="pt-BR" sz="1200" b="0" dirty="0"/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u="none" strike="noStrike" cap="none" dirty="0">
                          <a:effectLst/>
                          <a:sym typeface="Arial"/>
                        </a:rPr>
                        <a:t>[3,01 – 2,62] </a:t>
                      </a:r>
                      <a:endParaRPr lang="pt-BR" sz="1100" b="1" dirty="0"/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5715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Projeto de Modernização da Piscicultura (isolado)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-</a:t>
                      </a:r>
                      <a:endParaRPr lang="pt-BR" sz="1200" b="0" dirty="0"/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u="none" strike="noStrike" cap="none" dirty="0">
                          <a:effectLst/>
                          <a:sym typeface="Arial"/>
                        </a:rPr>
                        <a:t>2,78</a:t>
                      </a:r>
                      <a:endParaRPr lang="pt-BR" sz="1100" b="1" dirty="0"/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pt-BR" sz="1200" dirty="0"/>
                        <a:t>Projeto dos </a:t>
                      </a:r>
                      <a:r>
                        <a:rPr lang="pt-BR" sz="1200" dirty="0" err="1"/>
                        <a:t>SAFs</a:t>
                      </a:r>
                      <a:r>
                        <a:rPr lang="pt-BR" sz="1200" dirty="0"/>
                        <a:t> Produtivos</a:t>
                      </a:r>
                      <a:r>
                        <a:rPr lang="pt-BR" sz="1200" baseline="0" dirty="0"/>
                        <a:t> (isolado)</a:t>
                      </a:r>
                      <a:endParaRPr lang="pt-BR" sz="1200" dirty="0"/>
                    </a:p>
                  </a:txBody>
                  <a:tcPr anchor="ctr"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-</a:t>
                      </a:r>
                      <a:endParaRPr lang="pt-BR" sz="1200" b="0" dirty="0"/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1" u="none" strike="noStrike" cap="none" dirty="0">
                          <a:effectLst/>
                          <a:sym typeface="Arial"/>
                        </a:rPr>
                        <a:t>3,01 </a:t>
                      </a:r>
                      <a:endParaRPr lang="pt-BR" sz="1100" b="1" dirty="0"/>
                    </a:p>
                  </a:txBody>
                  <a:tcPr anchor="ctr">
                    <a:lnL w="12700" cap="flat" cmpd="sng" algn="ctr">
                      <a:solidFill>
                        <a:srgbClr val="AEC7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657754" y="3923704"/>
            <a:ext cx="2021631" cy="276999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00" i="1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Fonte: Elaborado </a:t>
            </a:r>
            <a:r>
              <a:rPr lang="pt-BR" sz="800" i="1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pelo autor</a:t>
            </a:r>
            <a:endParaRPr lang="pt-BR" sz="800" i="1" dirty="0">
              <a:solidFill>
                <a:srgbClr val="265751"/>
              </a:solidFill>
            </a:endParaRPr>
          </a:p>
        </p:txBody>
      </p:sp>
      <p:sp>
        <p:nvSpPr>
          <p:cNvPr id="8" name="Retângulo Arredondado 7"/>
          <p:cNvSpPr/>
          <p:nvPr/>
        </p:nvSpPr>
        <p:spPr>
          <a:xfrm>
            <a:off x="570272" y="2841523"/>
            <a:ext cx="7934632" cy="334297"/>
          </a:xfrm>
          <a:prstGeom prst="roundRect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Arredondado 8"/>
          <p:cNvSpPr/>
          <p:nvPr/>
        </p:nvSpPr>
        <p:spPr>
          <a:xfrm>
            <a:off x="570272" y="3215464"/>
            <a:ext cx="7934632" cy="708240"/>
          </a:xfrm>
          <a:prstGeom prst="roundRect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371914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Shape 146"/>
          <p:cNvSpPr txBox="1">
            <a:spLocks noGrp="1"/>
          </p:cNvSpPr>
          <p:nvPr>
            <p:ph type="title"/>
          </p:nvPr>
        </p:nvSpPr>
        <p:spPr>
          <a:xfrm>
            <a:off x="1707134" y="154587"/>
            <a:ext cx="6687984" cy="606033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pt-BR" dirty="0"/>
              <a:t>Conclusões</a:t>
            </a:r>
            <a:endParaRPr lang="en" dirty="0"/>
          </a:p>
        </p:txBody>
      </p:sp>
      <p:sp>
        <p:nvSpPr>
          <p:cNvPr id="20" name="Retângulo 19"/>
          <p:cNvSpPr/>
          <p:nvPr/>
        </p:nvSpPr>
        <p:spPr>
          <a:xfrm>
            <a:off x="511270" y="3288475"/>
            <a:ext cx="7235899" cy="698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Potencial de contribuir para o movimento de investimento consciente que se observa no Brasil e no mundo</a:t>
            </a:r>
          </a:p>
        </p:txBody>
      </p:sp>
      <p:sp>
        <p:nvSpPr>
          <p:cNvPr id="21" name="Retângulo 20"/>
          <p:cNvSpPr/>
          <p:nvPr/>
        </p:nvSpPr>
        <p:spPr>
          <a:xfrm>
            <a:off x="511270" y="1350362"/>
            <a:ext cx="6164833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As taxas de desconto e a visão de curto prazo.</a:t>
            </a:r>
          </a:p>
        </p:txBody>
      </p:sp>
      <p:sp>
        <p:nvSpPr>
          <p:cNvPr id="26" name="Retângulo 25"/>
          <p:cNvSpPr/>
          <p:nvPr/>
        </p:nvSpPr>
        <p:spPr>
          <a:xfrm>
            <a:off x="511271" y="934863"/>
            <a:ext cx="576171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Das contradições do SROI</a:t>
            </a:r>
            <a:endParaRPr lang="pt-BR" i="1" kern="0" dirty="0">
              <a:solidFill>
                <a:srgbClr val="448D62"/>
              </a:solidFill>
              <a:latin typeface="+mj-lt"/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511270" y="2358816"/>
            <a:ext cx="7235899" cy="646331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O vácuo metodológico nos cálculos do contrafactual;</a:t>
            </a:r>
          </a:p>
          <a:p>
            <a:pPr marL="285750" indent="-285750">
              <a:lnSpc>
                <a:spcPct val="150000"/>
              </a:lnSpc>
              <a:buFont typeface="Arial" charset="0"/>
              <a:buChar char="•"/>
            </a:pPr>
            <a:r>
              <a:rPr lang="pt-BR" sz="1200" dirty="0">
                <a:solidFill>
                  <a:srgbClr val="265751"/>
                </a:solidFill>
                <a:latin typeface="+mj-lt"/>
                <a:sym typeface="Wingdings" panose="05000000000000000000" pitchFamily="2" charset="2"/>
              </a:rPr>
              <a:t>A variação da taxa de juros entre diferentes países.</a:t>
            </a:r>
          </a:p>
        </p:txBody>
      </p:sp>
      <p:sp>
        <p:nvSpPr>
          <p:cNvPr id="28" name="Retângulo 27"/>
          <p:cNvSpPr/>
          <p:nvPr/>
        </p:nvSpPr>
        <p:spPr>
          <a:xfrm>
            <a:off x="511270" y="1943317"/>
            <a:ext cx="289069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charset="2"/>
              <a:buChar char="q"/>
            </a:pPr>
            <a:r>
              <a:rPr lang="pt-BR" b="1" u="sng" dirty="0">
                <a:solidFill>
                  <a:srgbClr val="144057"/>
                </a:solidFill>
                <a:latin typeface="+mj-lt"/>
                <a:sym typeface="Wingdings" panose="05000000000000000000" pitchFamily="2" charset="2"/>
              </a:rPr>
              <a:t>Das limitações do SROI</a:t>
            </a:r>
            <a:endParaRPr lang="pt-BR" i="1" kern="0" dirty="0">
              <a:solidFill>
                <a:srgbClr val="448D6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3525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FB1001-9F7A-890D-413D-C2EF919E94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999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Shape 146"/>
          <p:cNvSpPr txBox="1">
            <a:spLocks noGrp="1"/>
          </p:cNvSpPr>
          <p:nvPr>
            <p:ph type="title"/>
          </p:nvPr>
        </p:nvSpPr>
        <p:spPr>
          <a:xfrm>
            <a:off x="1707134" y="154587"/>
            <a:ext cx="6687984" cy="606033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pt-BR" dirty="0"/>
              <a:t>Recomendação de leitura</a:t>
            </a:r>
            <a:endParaRPr lang="en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B6BC971-4279-5317-297B-BF6F38EF71A0}"/>
              </a:ext>
            </a:extLst>
          </p:cNvPr>
          <p:cNvGrpSpPr/>
          <p:nvPr/>
        </p:nvGrpSpPr>
        <p:grpSpPr>
          <a:xfrm>
            <a:off x="983411" y="919213"/>
            <a:ext cx="6564702" cy="3802456"/>
            <a:chOff x="629728" y="936466"/>
            <a:chExt cx="6003985" cy="347767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71E3B17-A607-5E24-1084-3C3C13F144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23851"/>
            <a:stretch/>
          </p:blipFill>
          <p:spPr>
            <a:xfrm>
              <a:off x="629728" y="936466"/>
              <a:ext cx="6003985" cy="811766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D49EEB6-F349-DCB9-DC44-204553E818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23851"/>
            <a:stretch/>
          </p:blipFill>
          <p:spPr>
            <a:xfrm>
              <a:off x="629728" y="1748233"/>
              <a:ext cx="6003985" cy="26659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9267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arwick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982</TotalTime>
  <Words>669</Words>
  <Application>Microsoft Office PowerPoint</Application>
  <PresentationFormat>On-screen Show (16:9)</PresentationFormat>
  <Paragraphs>130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Nixie One</vt:lpstr>
      <vt:lpstr>Roboto Slab</vt:lpstr>
      <vt:lpstr>Wingdings</vt:lpstr>
      <vt:lpstr>Warwick template</vt:lpstr>
      <vt:lpstr>think-cell Slide</vt:lpstr>
      <vt:lpstr> Social Return  on Investment</vt:lpstr>
      <vt:lpstr>O Case da Kaeté Investimentos</vt:lpstr>
      <vt:lpstr>A Metodologia SROI</vt:lpstr>
      <vt:lpstr>SROI aplicado ao Case Peixes da Amazônia</vt:lpstr>
      <vt:lpstr>Proxies Financeiras</vt:lpstr>
      <vt:lpstr>Resultados</vt:lpstr>
      <vt:lpstr>Resultados</vt:lpstr>
      <vt:lpstr>Conclusões</vt:lpstr>
      <vt:lpstr>Recomendação de leitur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ixes da Amazônia</dc:title>
  <dc:creator>Cavalcante, Yago O.</dc:creator>
  <cp:lastModifiedBy>Cavalcante, Yago O.</cp:lastModifiedBy>
  <cp:revision>289</cp:revision>
  <dcterms:modified xsi:type="dcterms:W3CDTF">2022-11-24T03:59:13Z</dcterms:modified>
</cp:coreProperties>
</file>